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7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345" r:id="rId2"/>
    <p:sldId id="321" r:id="rId3"/>
    <p:sldId id="283" r:id="rId4"/>
    <p:sldId id="348" r:id="rId5"/>
    <p:sldId id="357" r:id="rId6"/>
    <p:sldId id="353" r:id="rId7"/>
    <p:sldId id="347" r:id="rId8"/>
    <p:sldId id="366" r:id="rId9"/>
    <p:sldId id="319" r:id="rId10"/>
    <p:sldId id="383" r:id="rId11"/>
    <p:sldId id="367" r:id="rId12"/>
    <p:sldId id="368" r:id="rId13"/>
    <p:sldId id="369" r:id="rId14"/>
    <p:sldId id="371" r:id="rId15"/>
    <p:sldId id="374" r:id="rId16"/>
    <p:sldId id="370" r:id="rId17"/>
    <p:sldId id="372" r:id="rId18"/>
    <p:sldId id="302" r:id="rId19"/>
    <p:sldId id="381" r:id="rId20"/>
    <p:sldId id="380" r:id="rId21"/>
    <p:sldId id="265" r:id="rId22"/>
    <p:sldId id="363" r:id="rId23"/>
    <p:sldId id="382" r:id="rId24"/>
    <p:sldId id="261" r:id="rId2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FA4"/>
    <a:srgbClr val="6DB6CE"/>
    <a:srgbClr val="60986B"/>
    <a:srgbClr val="2A3E1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3" autoAdjust="0"/>
    <p:restoredTop sz="80061" autoAdjust="0"/>
  </p:normalViewPr>
  <p:slideViewPr>
    <p:cSldViewPr snapToGrid="0" showGuides="1">
      <p:cViewPr varScale="1">
        <p:scale>
          <a:sx n="91" d="100"/>
          <a:sy n="91" d="100"/>
        </p:scale>
        <p:origin x="1350" y="84"/>
      </p:cViewPr>
      <p:guideLst>
        <p:guide orient="horz" pos="218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186A76-A75E-4FA2-BB81-7FFAD494B5FF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0026DF-BD93-45C6-83ED-7CACB5E95A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8819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녕하세요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“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 등록제도와 유기동물 수</a:t>
            </a: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증감의 상관성</a:t>
            </a: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”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제로</a:t>
            </a: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데이터 분석을 진행한</a:t>
            </a: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달리는 마차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발표자 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39FB0-E7C1-452F-B502-A2297DF1C1E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위 지도는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앞으로의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슬라이드들에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설명할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과 유기동물 수의 분포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한눈에 확인할 수 있도록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도화하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3554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시 자치구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그래프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결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 모든 자치구에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최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2000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마리 반려견을 고루 소유하고 있음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알 수 있으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중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송파구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14000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여 마리로 가장 많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중구의 경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2000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여마리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가장 적은 수를 보유하고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4370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다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일한 반려동물 데이터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기간연도별로 구분한 그래프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의 수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간에 따른 큰 증감추이가 없는 것을 통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속적인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에 대한 관심을 알 수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2615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 데이터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자치구별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비교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보시는것과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같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악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 유기 수가 가장 높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대로 서초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강남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중구에서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호되고 있는 유기견의 수가 비교적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장 낮은 수치를 보이고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방금 말씀드린 높은 유기견을 </a:t>
            </a:r>
            <a:r>
              <a:rPr lang="ko-KR" altLang="ko-KR" sz="1800" u="sng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보유하고있는</a:t>
            </a:r>
            <a:r>
              <a:rPr lang="ko-KR" altLang="en-US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자치구와 낮은 </a:t>
            </a:r>
            <a:r>
              <a:rPr lang="ko-KR" altLang="en-US" sz="1800" u="sng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견</a:t>
            </a:r>
            <a:r>
              <a:rPr lang="ko-KR" altLang="en-US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호 구역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잘 기억해주시기 </a:t>
            </a:r>
            <a:r>
              <a:rPr lang="ko-KR" altLang="ko-KR" sz="1800" u="sng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바립니다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^^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일반적으로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견을 가장 많이 키우는 곳에서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유기견이 많을 것이라고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생각</a:t>
            </a:r>
            <a:r>
              <a:rPr lang="ko-KR" altLang="en-US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하기 때문입니다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97621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시행되고 있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등록제의 효과성을 검증하기 위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별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견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호 수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 비교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국 단위로 유실동물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보도발표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농림축산식품부에서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총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9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마리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구조되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매년 증가하고 있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음을 언급하였지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은 지속적으로 감소하고 있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특히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장 큰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감소 폭을 보이는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화살표 구간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‘2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번째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제도 개정을 언급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!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82188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러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시행되고 있는 반려동물 등록제는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단순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복언급과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개정만으로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확실히 효과가 있는 것으로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보여지는데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제까지 살펴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자치구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기간별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수를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합쳐본 결과로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대체로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일지역구에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별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큰 차이가 없는 수준임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알 수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따라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저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흰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등록제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어느 부분에서 더 개선될 수 있을지 고민하였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견이 생기는 원인에 대해 분석해보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31830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앞에서 제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 자치구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 현황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래프에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기억해달라 했던 부분이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기억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나시나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^^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흥미롭게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반려동물 수와 유기동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수는 비례하지 않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보이시는 막대 그래프의 경우 반려동물 수를 의미하구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꺾은선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의 경우 자치구별 유기동물 수를 의미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하는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장 많은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수를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유한 지역인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노란동그라미부분에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장 낮은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수를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유하고 있었으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면 빨간 동그라미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악구에서는 반대결과를 가지고 있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저희는 이부분을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더분석해보아야겠다고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판단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32910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의문점을 해결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증명해보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고자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추가로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 자치구별 평균소득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호되고 있는 유기동물 수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 비교해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보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보이시는 빨간 선 그래프가 자치구별 평균소득을 의미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/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검은선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유기동물 현황을 의미하는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래프입니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앞의 가설과 유사하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득과 유기수의 연관성이 보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상위소득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위지역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즉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초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강남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송파구에서는 낮은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수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외 지역에서는 소득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수모두 유사한 중간분포도를 차지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따라서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장 높은 유기수를 보유한 관악구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직 큰 소득이 없는 청년층 거주 비율이 가장 높은 지역으로도 알려져 있는데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을 키울 기본여건과 준비가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갖추어지지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않은상태에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을 양육하고 쉽게 포기하였던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상관도가 있는 것이 아닐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당그래프를 통해 예측해 보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46222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럼 이제 마지막으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석내용</a:t>
            </a:r>
            <a:r>
              <a:rPr lang="ko-KR" altLang="en-US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통해</a:t>
            </a:r>
            <a:endParaRPr lang="en-US" altLang="ko-KR" sz="1800" b="1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결론및시사점을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리하여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말씀드리겠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27541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기대효과로</a:t>
            </a: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먼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록제 이후 매년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)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마리 증가추이를 보이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2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번째 개정 이후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견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등록 자진신고 기간에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8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 마리 신규 등록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결과물로도 충분한 홍보성이 있었음을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확인할 수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또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등록제와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견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감소의 연관성을 파악하였으므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앞으로도 지속적인 정부의 관심과 제도개선의 필요성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더욱 강조된다 생각되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나아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동물학대 등의 관련한 범죄가 사람 대상으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이어지는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경우’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문제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다반사로 떠오르는데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향후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물권리 인정 및 생명존중 가치의 실현으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‘공동체 및 시민 윤리의식 증가’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예상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되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사회 문제 인식 및 개인 책임감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향상’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기대할 수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있을것으로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보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7117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먼저 발표설명순서 목차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첫번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제선정이유에 해당하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제안배경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필요성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두번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분석내용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활용한데이터종류와 시각화분석과정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리고 마지막 세번째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최종 결론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의견을 말씀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드리는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방식으로 진행 하겠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!^^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39FB0-E7C1-452F-B502-A2297DF1C1E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164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마지막으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‘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 보호 센터 운영비용 절감 효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와 더불어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득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데이터 추가분석을 통해 추가 시사점을 생각해보았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이를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입양할때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절차가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매우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까다롭듯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강아지 분양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제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또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당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사람이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키울만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능력이 있는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판별할 수 있는 제도도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추가 필요함을 시사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능력은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사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및 예방 접종 비용 등과 같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기본 강아지 양육비용의 책임 여부를 의미합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를 통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사람들이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양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이만큼의 시간과 돈을 투자해서 관리할 능력이 되거나 그만큼의 열정이 있는지를 다시 한번 스스로 고민했으면 합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73520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으로의 많은 이들의</a:t>
            </a:r>
            <a:r>
              <a:rPr lang="en-US" altLang="ko-KR" dirty="0"/>
              <a:t>/</a:t>
            </a:r>
            <a:r>
              <a:rPr lang="ko-KR" altLang="en-US" dirty="0"/>
              <a:t> 지속적인 관심과 적극성이</a:t>
            </a:r>
            <a:r>
              <a:rPr lang="en-US" altLang="ko-KR" dirty="0"/>
              <a:t>/</a:t>
            </a:r>
          </a:p>
          <a:p>
            <a:r>
              <a:rPr lang="ko-KR" altLang="en-US" dirty="0"/>
              <a:t>동물과의 조화롭고 평화로운 세상을 만드는데 큰 도움이 될 것이라 생각됩니다</a:t>
            </a:r>
            <a:r>
              <a:rPr lang="en-US" altLang="ko-KR" dirty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39FB0-E7C1-452F-B502-A2297DF1C1E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4330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이상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46840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발표를 마치겠습니다</a:t>
            </a:r>
            <a:r>
              <a:rPr lang="en-US" altLang="ko-KR" dirty="0"/>
              <a:t>!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25266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감사합니다</a:t>
            </a:r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!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39FB0-E7C1-452F-B502-A2297DF1C1E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271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첫번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선정배경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1200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최근 애완견이란 단어 대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반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려견이라는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표현을 사용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/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또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이를 낳지 않고 강아지를 키우는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딩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펫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족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란 용어가 등장했다고 합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’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러한 관심과 더불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 우리나라 반려인구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미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500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을 넘어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섰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계속 증가 추세를 보이고 있습니다</a:t>
            </a:r>
            <a:r>
              <a:rPr lang="en-US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en-US" altLang="ko-KR" sz="1800" b="1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하지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렇게 선택한 반려견과 평생을 함께한다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물론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문제가 없겠지만 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 수가 증가하는 만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b="1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</a:t>
            </a:r>
            <a:r>
              <a:rPr lang="ko-KR" altLang="en-US" sz="1800" b="1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견</a:t>
            </a:r>
            <a:r>
              <a:rPr lang="ko-KR" altLang="en-US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또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발생하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금까지도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계속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_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결되지 않는 문제로 대두되고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5064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문제 심각성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도 인지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등록제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 시행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하였는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등록제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15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자리 고유번호를 부여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당 고유번호에 대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유자 인적사항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견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정보를 등록하는 제도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2013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부터 시행하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현재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2021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까지 개선하며 진행중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입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2013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도와 현재의 차이는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록방법인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내장형무선식별장치삽입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외장형 무선식별장치 장착만 현재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정이되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전의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록번호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없는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단순인식표는 제외되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또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록비용지원기간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자진신고 및 집중단속 기간이 운영되었고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확한 신고대상 강아지 나이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2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개월이상으로 언급이 되어있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즉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양받을때부터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의무화가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작된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것이라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볼 수 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275599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하지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동물등록수는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조금씩 증가는 하고 있지만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행이후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0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가량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지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2020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기준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록률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50%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도 미치지 못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38.6%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 불과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2’14)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 동물 등록제도를 이행하지 않은 사람들 수에 비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최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4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간 </a:t>
            </a:r>
            <a:r>
              <a:rPr lang="ko-KR" altLang="ko-KR" sz="1800" b="1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미이행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으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과태료를 부과한 사례는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564</a:t>
            </a:r>
            <a:r>
              <a:rPr lang="ko-KR" altLang="ko-KR" sz="1800" u="sng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건밖에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되지 않는다고 합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 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래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~!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저희 팀은 </a:t>
            </a:r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dirty="0" err="1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유기견</a:t>
            </a:r>
            <a:r>
              <a:rPr lang="ko-KR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 수가 더 이상 증가하지 않도록</a:t>
            </a:r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!</a:t>
            </a:r>
          </a:p>
          <a:p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‘ </a:t>
            </a:r>
            <a:r>
              <a:rPr lang="ko-KR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반려동물 등록제도의 이행</a:t>
            </a:r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을 장려하고자 해당 주제를 선정하였습니다</a:t>
            </a:r>
            <a:r>
              <a:rPr lang="en-US" altLang="ko-KR" sz="18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72679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다음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은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본격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적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분석 내용입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4819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총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4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데이터들을 사용했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일단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국단위보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한국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 가장 많은 사람들이 거주하고 있는 서울을 표본으로 선택하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운데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2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개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기본데이터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‘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반려동물수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유기동물수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자치구별과 기간연도별로 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래프화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또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추가로 필요한 자료들은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‘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공공데이터 포털 서울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열린데이터광장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통합데이터지도에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’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조사하였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9745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위 데이터들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엑셀과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파이썬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으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처리하였고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매트플롯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라이브러리와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씨본을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통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</a:t>
            </a:r>
            <a:r>
              <a:rPr lang="ko-KR" altLang="ko-KR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각화하였습니다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26DF-BD93-45C6-83ED-7CACB5E95A99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0187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908C2BA-A520-4A3D-837B-1144CC828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CDB805C3-45CC-420E-AA61-55499D64D4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35A0575-1A63-47D4-AF56-51DE76F4FE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EA5EEFC-CC09-42B2-9416-B858D083C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2EDA89-6BAF-4489-B77B-854105762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708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8F368477-37A1-40E6-BFAC-E247D1FA4B7D}"/>
              </a:ext>
            </a:extLst>
          </p:cNvPr>
          <p:cNvCxnSpPr/>
          <p:nvPr userDrawn="1"/>
        </p:nvCxnSpPr>
        <p:spPr>
          <a:xfrm>
            <a:off x="584200" y="11430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74253D07-F80B-461B-9F3D-76300A0C9074}"/>
              </a:ext>
            </a:extLst>
          </p:cNvPr>
          <p:cNvCxnSpPr/>
          <p:nvPr userDrawn="1"/>
        </p:nvCxnSpPr>
        <p:spPr>
          <a:xfrm>
            <a:off x="584200" y="65278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AB942BB-9D2C-4F27-88B0-AFA1563F10DF}"/>
              </a:ext>
            </a:extLst>
          </p:cNvPr>
          <p:cNvSpPr/>
          <p:nvPr userDrawn="1"/>
        </p:nvSpPr>
        <p:spPr>
          <a:xfrm flipH="1">
            <a:off x="11302999" y="-1"/>
            <a:ext cx="622300" cy="846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790D59-F9FA-4EC6-A832-D91E2EA3760E}"/>
              </a:ext>
            </a:extLst>
          </p:cNvPr>
          <p:cNvSpPr txBox="1"/>
          <p:nvPr userDrawn="1"/>
        </p:nvSpPr>
        <p:spPr>
          <a:xfrm>
            <a:off x="-171135" y="-307152"/>
            <a:ext cx="75533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0" b="1" dirty="0">
                <a:solidFill>
                  <a:schemeClr val="accent3"/>
                </a:solidFill>
              </a:rPr>
              <a:t>1</a:t>
            </a:r>
            <a:endParaRPr lang="ko-KR" altLang="en-US" sz="8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9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8F368477-37A1-40E6-BFAC-E247D1FA4B7D}"/>
              </a:ext>
            </a:extLst>
          </p:cNvPr>
          <p:cNvCxnSpPr/>
          <p:nvPr userDrawn="1"/>
        </p:nvCxnSpPr>
        <p:spPr>
          <a:xfrm>
            <a:off x="584200" y="11430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74253D07-F80B-461B-9F3D-76300A0C9074}"/>
              </a:ext>
            </a:extLst>
          </p:cNvPr>
          <p:cNvCxnSpPr/>
          <p:nvPr userDrawn="1"/>
        </p:nvCxnSpPr>
        <p:spPr>
          <a:xfrm>
            <a:off x="584200" y="65278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AB942BB-9D2C-4F27-88B0-AFA1563F10DF}"/>
              </a:ext>
            </a:extLst>
          </p:cNvPr>
          <p:cNvSpPr/>
          <p:nvPr userDrawn="1"/>
        </p:nvSpPr>
        <p:spPr>
          <a:xfrm flipH="1">
            <a:off x="11302999" y="-1"/>
            <a:ext cx="622300" cy="846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790D59-F9FA-4EC6-A832-D91E2EA3760E}"/>
              </a:ext>
            </a:extLst>
          </p:cNvPr>
          <p:cNvSpPr txBox="1"/>
          <p:nvPr userDrawn="1"/>
        </p:nvSpPr>
        <p:spPr>
          <a:xfrm>
            <a:off x="-171135" y="-307152"/>
            <a:ext cx="75533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0" b="1" dirty="0">
                <a:solidFill>
                  <a:schemeClr val="accent3"/>
                </a:solidFill>
              </a:rPr>
              <a:t>2</a:t>
            </a:r>
            <a:endParaRPr lang="ko-KR" altLang="en-US" sz="8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846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8F368477-37A1-40E6-BFAC-E247D1FA4B7D}"/>
              </a:ext>
            </a:extLst>
          </p:cNvPr>
          <p:cNvCxnSpPr/>
          <p:nvPr userDrawn="1"/>
        </p:nvCxnSpPr>
        <p:spPr>
          <a:xfrm>
            <a:off x="584200" y="11430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74253D07-F80B-461B-9F3D-76300A0C9074}"/>
              </a:ext>
            </a:extLst>
          </p:cNvPr>
          <p:cNvCxnSpPr/>
          <p:nvPr userDrawn="1"/>
        </p:nvCxnSpPr>
        <p:spPr>
          <a:xfrm>
            <a:off x="584200" y="65278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AB942BB-9D2C-4F27-88B0-AFA1563F10DF}"/>
              </a:ext>
            </a:extLst>
          </p:cNvPr>
          <p:cNvSpPr/>
          <p:nvPr userDrawn="1"/>
        </p:nvSpPr>
        <p:spPr>
          <a:xfrm flipH="1">
            <a:off x="11302999" y="-1"/>
            <a:ext cx="622300" cy="846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790D59-F9FA-4EC6-A832-D91E2EA3760E}"/>
              </a:ext>
            </a:extLst>
          </p:cNvPr>
          <p:cNvSpPr txBox="1"/>
          <p:nvPr userDrawn="1"/>
        </p:nvSpPr>
        <p:spPr>
          <a:xfrm>
            <a:off x="-171135" y="-307152"/>
            <a:ext cx="75533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0" b="1" dirty="0">
                <a:solidFill>
                  <a:schemeClr val="accent3"/>
                </a:solidFill>
              </a:rPr>
              <a:t>3</a:t>
            </a:r>
            <a:endParaRPr lang="ko-KR" altLang="en-US" sz="8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479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8F368477-37A1-40E6-BFAC-E247D1FA4B7D}"/>
              </a:ext>
            </a:extLst>
          </p:cNvPr>
          <p:cNvCxnSpPr/>
          <p:nvPr userDrawn="1"/>
        </p:nvCxnSpPr>
        <p:spPr>
          <a:xfrm>
            <a:off x="584200" y="11430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74253D07-F80B-461B-9F3D-76300A0C9074}"/>
              </a:ext>
            </a:extLst>
          </p:cNvPr>
          <p:cNvCxnSpPr/>
          <p:nvPr userDrawn="1"/>
        </p:nvCxnSpPr>
        <p:spPr>
          <a:xfrm>
            <a:off x="584200" y="65278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AB942BB-9D2C-4F27-88B0-AFA1563F10DF}"/>
              </a:ext>
            </a:extLst>
          </p:cNvPr>
          <p:cNvSpPr/>
          <p:nvPr userDrawn="1"/>
        </p:nvSpPr>
        <p:spPr>
          <a:xfrm flipH="1">
            <a:off x="11302999" y="-1"/>
            <a:ext cx="622300" cy="846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790D59-F9FA-4EC6-A832-D91E2EA3760E}"/>
              </a:ext>
            </a:extLst>
          </p:cNvPr>
          <p:cNvSpPr txBox="1"/>
          <p:nvPr userDrawn="1"/>
        </p:nvSpPr>
        <p:spPr>
          <a:xfrm>
            <a:off x="-171135" y="-307152"/>
            <a:ext cx="75533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0" b="1" dirty="0">
                <a:solidFill>
                  <a:schemeClr val="accent3"/>
                </a:solidFill>
              </a:rPr>
              <a:t>4</a:t>
            </a:r>
            <a:endParaRPr lang="ko-KR" altLang="en-US" sz="8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0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8F368477-37A1-40E6-BFAC-E247D1FA4B7D}"/>
              </a:ext>
            </a:extLst>
          </p:cNvPr>
          <p:cNvCxnSpPr/>
          <p:nvPr userDrawn="1"/>
        </p:nvCxnSpPr>
        <p:spPr>
          <a:xfrm>
            <a:off x="584200" y="11430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74253D07-F80B-461B-9F3D-76300A0C9074}"/>
              </a:ext>
            </a:extLst>
          </p:cNvPr>
          <p:cNvCxnSpPr/>
          <p:nvPr userDrawn="1"/>
        </p:nvCxnSpPr>
        <p:spPr>
          <a:xfrm>
            <a:off x="584200" y="6527800"/>
            <a:ext cx="1160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AB942BB-9D2C-4F27-88B0-AFA1563F10DF}"/>
              </a:ext>
            </a:extLst>
          </p:cNvPr>
          <p:cNvSpPr/>
          <p:nvPr userDrawn="1"/>
        </p:nvSpPr>
        <p:spPr>
          <a:xfrm flipH="1">
            <a:off x="11302999" y="-1"/>
            <a:ext cx="622300" cy="846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790D59-F9FA-4EC6-A832-D91E2EA3760E}"/>
              </a:ext>
            </a:extLst>
          </p:cNvPr>
          <p:cNvSpPr txBox="1"/>
          <p:nvPr userDrawn="1"/>
        </p:nvSpPr>
        <p:spPr>
          <a:xfrm>
            <a:off x="-171135" y="-307152"/>
            <a:ext cx="75533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0" b="1" dirty="0">
                <a:solidFill>
                  <a:schemeClr val="accent3"/>
                </a:solidFill>
              </a:rPr>
              <a:t>5</a:t>
            </a:r>
            <a:endParaRPr lang="ko-KR" altLang="en-US" sz="8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6397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10C6C1D-ED84-444F-BE22-E3FE98D73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C653C97-A8E5-424A-A40A-A73AC277D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CD6EA5C-4C0B-4220-A024-861579993E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E5E4486-FB7E-4114-8F44-459B62378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C28D07A-6FAA-46D5-8BD2-82111E9B9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28154D3-0320-4816-AADB-56EE1EF82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5791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4369526-5215-4ECD-8762-B36D9C01C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7203C15-D5D2-47DF-993C-A326DF3E02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BAE8B56-6677-4C45-9E67-F375F3AC63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854B1D2-3576-4A4D-A834-33DC2D27C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FE77A9F-D1C3-4F86-A464-51B44825A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2D16196-8C61-4C0E-8C80-C9D68DAB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7637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79679E8-7667-43E9-B391-D4F50A387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72C95AF-A262-405B-A3C6-CDC27A93C5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0EC9EB3-2DA3-4C01-AB53-610E745A7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F28B105-F1EC-4257-A531-17C58D9F9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D3E694C-0305-4EE6-86F9-E43B8C5FF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71792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4D197A1A-3CF8-4C90-847F-DB7E491A7B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FEE3391-2658-47CD-90EE-19D37D803C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DBC4D59-AAF0-400E-90B3-E59394ECB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F0C315C-D404-455B-9BEF-3020F9556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0C7B359-36CD-42BB-9EC9-A146D6C03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8267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2835024-5CB2-4EDD-8CF4-A603DCCC8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75866B0-1772-453B-86CB-2EB29AF62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E2127FB-50F5-4785-AB43-B3559D29A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EAE07C0-703E-48A4-B92C-96DB79155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F4DBED8-81FA-4695-B10A-4706D74AB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538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2A9253E-C8F9-4722-8016-0BE06CCF8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E033F41-6406-4DC5-9F92-093B79A3D2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8CF38FB-BF6D-4235-AB7D-608AE58CF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24FFC1E-8831-432B-B33B-4C4C497B7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EBED003-F026-425F-B679-C1FD847FA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3639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4FDC70-D5CB-4743-A93F-18B1E962A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2629D79-2D59-4B2D-9667-EC0D1F8F42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66371D1-292E-4E6F-B6C4-938F626F1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7429CB4-9E9E-4F8A-AAD9-390427F0D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7353E4C-E8CC-440E-B9F6-FF43D9A96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FFAD704-1866-4EF8-84C6-B4CBA7B04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2013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200134-45D2-4516-BD4F-D2397065A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666B38C-3DEF-496B-AA0D-DD671684B7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EDF8BD2-9A88-4496-8DA8-599CD2FF02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8111467-A063-4274-9151-190E5B4148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09AD9931-328A-41E7-8729-1ADCE8ADAB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B12F86B-E4B0-4CF5-B092-5E31D8B29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60E141B-37FC-4F4D-BCBB-1731DC9B1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0984566-E963-49F1-AEE6-7660C0DA1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1777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7FFAA04-CC8D-4786-9EA9-6AD96F4D6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0BBAB167-1E02-49E6-95F2-787CC16A4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3F3FBC0-985C-4CF7-904D-4121EEE52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EE720991-FAB3-4C7D-AFED-E3962BE7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11248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0485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F02B3F2D-80C0-459C-8649-CD2CE93AC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그래픽 6" descr="사각형 2개, 단색 하나와 가로줄로 채워진 것 하나">
            <a:extLst>
              <a:ext uri="{FF2B5EF4-FFF2-40B4-BE49-F238E27FC236}">
                <a16:creationId xmlns:a16="http://schemas.microsoft.com/office/drawing/2014/main" id="{09EECDD8-EE0C-4B3D-ACEA-5AF16B38D3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876707"/>
            <a:ext cx="4572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91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CD33244-5D91-4F75-BE7D-F157FD481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F4D3456-BB71-4D4D-85A7-8901A75DE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EDAB67-95D2-42ED-82CD-990BF5218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2131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82C20DAB-B19D-4720-9AAC-ED0D379DF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2E55E5B-603E-47EF-A2A7-797EBFCBAD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91AEA3A-458B-4997-B12E-F4A6809DE0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1E810-BE59-455F-8610-69FC5FAA5A8C}" type="datetimeFigureOut">
              <a:rPr lang="ko-KR" altLang="en-US" smtClean="0"/>
              <a:t>2021-12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4C1CCD3-50FB-4582-B676-296DF5F82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4374E90-BAA3-4961-A0EC-B378E7DF8A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A26E17-4208-44BB-9152-C206E23C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9132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7" r:id="rId8"/>
    <p:sldLayoutId id="2147483666" r:id="rId9"/>
    <p:sldLayoutId id="2147483661" r:id="rId10"/>
    <p:sldLayoutId id="2147483660" r:id="rId11"/>
    <p:sldLayoutId id="2147483662" r:id="rId12"/>
    <p:sldLayoutId id="2147483663" r:id="rId13"/>
    <p:sldLayoutId id="2147483664" r:id="rId14"/>
    <p:sldLayoutId id="2147483656" r:id="rId15"/>
    <p:sldLayoutId id="2147483657" r:id="rId16"/>
    <p:sldLayoutId id="2147483658" r:id="rId17"/>
    <p:sldLayoutId id="2147483659" r:id="rId18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6.xml"/><Relationship Id="rId7" Type="http://schemas.openxmlformats.org/officeDocument/2006/relationships/image" Target="../media/image3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5.jpg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jp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gnews.gg.go.kr/news/news_detail.do?number=202107191110327945C048&amp;s_code=C048" TargetMode="External"/><Relationship Id="rId3" Type="http://schemas.openxmlformats.org/officeDocument/2006/relationships/hyperlink" Target="https://terms.naver.com/entry.naver?docId=5782732&amp;cid=43667&amp;categoryId=43667" TargetMode="External"/><Relationship Id="rId7" Type="http://schemas.openxmlformats.org/officeDocument/2006/relationships/hyperlink" Target="http://www.cstimes.com/news/articleView.html?idxno=481256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korea.kr/news/pressReleaseView.do?newsId=156448339" TargetMode="External"/><Relationship Id="rId5" Type="http://schemas.openxmlformats.org/officeDocument/2006/relationships/hyperlink" Target="http://news.tf.co.kr/read/national/1897674.htm" TargetMode="External"/><Relationship Id="rId4" Type="http://schemas.openxmlformats.org/officeDocument/2006/relationships/hyperlink" Target="https://blog.naver.com/jsjeong0403/222522785207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gdata-map.kr/search/1194716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data.seoul.go.kr/dataList/419/S/2/datasetView.do" TargetMode="External"/><Relationship Id="rId5" Type="http://schemas.openxmlformats.org/officeDocument/2006/relationships/hyperlink" Target="https://data.seoul.go.kr/dataList/369/S/2/datasetView.do" TargetMode="External"/><Relationship Id="rId4" Type="http://schemas.openxmlformats.org/officeDocument/2006/relationships/hyperlink" Target="https://data.seoul.go.kr/dataList/10970/S/2/datasetView.do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A6A7F7-B4BD-4AB1-8A10-2202AAAF3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A6A7F7-B4BD-4AB1-8A10-2202AAAF3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86D1A938-740F-448C-9536-6949FD4BB2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8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1" name="Picture 10" descr="A dog sitting on a couch&#10;&#10;Description automatically generated">
            <a:extLst>
              <a:ext uri="{FF2B5EF4-FFF2-40B4-BE49-F238E27FC236}">
                <a16:creationId xmlns:a16="http://schemas.microsoft.com/office/drawing/2014/main" id="{88701242-6657-4B69-B449-809F4CB596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9EAB2072-04E1-4A74-8EA5-3BE6C844D6EA}"/>
              </a:ext>
            </a:extLst>
          </p:cNvPr>
          <p:cNvSpPr/>
          <p:nvPr/>
        </p:nvSpPr>
        <p:spPr>
          <a:xfrm>
            <a:off x="323850" y="419100"/>
            <a:ext cx="5772150" cy="6438900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8E187EBD-4EF3-4692-B19E-4705EB641F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2475" y="1940641"/>
            <a:ext cx="7236493" cy="2605959"/>
          </a:xfrm>
          <a:prstGeom prst="roundRect">
            <a:avLst>
              <a:gd name="adj" fmla="val 0"/>
            </a:avLst>
          </a:prstGeom>
          <a:solidFill>
            <a:srgbClr val="1997CD"/>
          </a:solidFill>
        </p:spPr>
        <p:txBody>
          <a:bodyPr lIns="360000" rIns="72000" anchor="ctr" anchorCtr="0">
            <a:noAutofit/>
          </a:bodyPr>
          <a:lstStyle/>
          <a:p>
            <a:pPr algn="l"/>
            <a:r>
              <a:rPr lang="ko-KR" altLang="en-US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반려동물 등록제도</a:t>
            </a:r>
            <a:r>
              <a:rPr lang="ko-KR" alt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와 </a:t>
            </a:r>
            <a:r>
              <a:rPr lang="ko-KR" altLang="en-US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유기동물 수 </a:t>
            </a:r>
            <a:br>
              <a:rPr lang="en-US" altLang="ko-KR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altLang="ko-KR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ko-KR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		</a:t>
            </a:r>
            <a:r>
              <a:rPr lang="ko-KR" alt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증감의 상관성 분석</a:t>
            </a:r>
            <a:endParaRPr lang="en-ID" sz="2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5A0666C-B577-4860-9E12-75463C251F61}"/>
              </a:ext>
            </a:extLst>
          </p:cNvPr>
          <p:cNvSpPr txBox="1"/>
          <p:nvPr/>
        </p:nvSpPr>
        <p:spPr>
          <a:xfrm>
            <a:off x="752472" y="4704090"/>
            <a:ext cx="43981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rgbClr val="017FA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달리는 마차</a:t>
            </a:r>
            <a:endParaRPr lang="en-ID" sz="2800" b="1" dirty="0">
              <a:solidFill>
                <a:srgbClr val="017FA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61C5DE8-0D3A-4B19-965C-D709BC5A2AD1}"/>
              </a:ext>
            </a:extLst>
          </p:cNvPr>
          <p:cNvCxnSpPr>
            <a:cxnSpLocks/>
          </p:cNvCxnSpPr>
          <p:nvPr/>
        </p:nvCxnSpPr>
        <p:spPr>
          <a:xfrm>
            <a:off x="2849880" y="1516380"/>
            <a:ext cx="32385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CEB6D18-4B54-427D-8B08-C1FF9D6B85F0}"/>
              </a:ext>
            </a:extLst>
          </p:cNvPr>
          <p:cNvSpPr txBox="1"/>
          <p:nvPr/>
        </p:nvSpPr>
        <p:spPr>
          <a:xfrm>
            <a:off x="752472" y="6287186"/>
            <a:ext cx="4398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1.12.13</a:t>
            </a:r>
            <a:endParaRPr lang="en-ID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D17B378-694D-419A-B096-D247EA02AA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2384" y="85568"/>
            <a:ext cx="1406905" cy="281382"/>
          </a:xfrm>
          <a:prstGeom prst="rect">
            <a:avLst/>
          </a:prstGeom>
        </p:spPr>
      </p:pic>
      <p:pic>
        <p:nvPicPr>
          <p:cNvPr id="1299" name="Picture 275" descr="공지사항-관련기관 – 경북포항강소특구">
            <a:extLst>
              <a:ext uri="{FF2B5EF4-FFF2-40B4-BE49-F238E27FC236}">
                <a16:creationId xmlns:a16="http://schemas.microsoft.com/office/drawing/2014/main" id="{4A778A37-BCF3-4F96-B28B-F7CEB2E2FC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09517" y="52342"/>
            <a:ext cx="1283711" cy="2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1B3E881-E316-408D-AA70-37D9AC7C02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58992" y="93663"/>
            <a:ext cx="1782869" cy="25804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6970022-763E-4FAE-ACF0-A50D0B92704F}"/>
              </a:ext>
            </a:extLst>
          </p:cNvPr>
          <p:cNvSpPr txBox="1"/>
          <p:nvPr/>
        </p:nvSpPr>
        <p:spPr>
          <a:xfrm>
            <a:off x="752472" y="5187731"/>
            <a:ext cx="2936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+mj-ea"/>
                <a:ea typeface="+mj-ea"/>
                <a:cs typeface="Segoe UI" panose="020B0502040204020203" pitchFamily="34" charset="0"/>
              </a:rPr>
              <a:t>변민종</a:t>
            </a:r>
            <a:r>
              <a:rPr lang="en-US" altLang="ko-KR" sz="1400" dirty="0">
                <a:latin typeface="+mj-ea"/>
                <a:ea typeface="+mj-ea"/>
                <a:cs typeface="Segoe UI" panose="020B0502040204020203" pitchFamily="34" charset="0"/>
              </a:rPr>
              <a:t>, </a:t>
            </a:r>
            <a:r>
              <a:rPr lang="ko-KR" altLang="en-US" sz="1400" dirty="0" err="1">
                <a:latin typeface="+mj-ea"/>
                <a:ea typeface="+mj-ea"/>
                <a:cs typeface="Segoe UI" panose="020B0502040204020203" pitchFamily="34" charset="0"/>
              </a:rPr>
              <a:t>허민영</a:t>
            </a:r>
            <a:r>
              <a:rPr lang="en-US" altLang="ko-KR" sz="1400" dirty="0">
                <a:latin typeface="+mj-ea"/>
                <a:ea typeface="+mj-ea"/>
                <a:cs typeface="Segoe UI" panose="020B0502040204020203" pitchFamily="34" charset="0"/>
              </a:rPr>
              <a:t>, </a:t>
            </a:r>
            <a:r>
              <a:rPr lang="ko-KR" altLang="en-US" sz="1400" dirty="0">
                <a:latin typeface="+mj-ea"/>
                <a:ea typeface="+mj-ea"/>
                <a:cs typeface="Segoe UI" panose="020B0502040204020203" pitchFamily="34" charset="0"/>
              </a:rPr>
              <a:t>현미연</a:t>
            </a:r>
            <a:endParaRPr lang="en-ID" sz="1400" dirty="0">
              <a:latin typeface="+mj-ea"/>
              <a:ea typeface="+mj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7943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-10132" y="939618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1) (Map) ‘</a:t>
            </a:r>
            <a:r>
              <a:rPr lang="ko-KR" altLang="en-US" b="1" dirty="0"/>
              <a:t>서울 자치구별</a:t>
            </a:r>
            <a:r>
              <a:rPr lang="en-US" altLang="ko-KR" b="1" dirty="0"/>
              <a:t>’</a:t>
            </a:r>
            <a:r>
              <a:rPr lang="ko-KR" altLang="en-US" b="1" dirty="0"/>
              <a:t> 반려동물 수와 유기동물보호 수</a:t>
            </a: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8AF47FD9-7B8F-40A9-B546-3A65A7DD98B5}"/>
              </a:ext>
            </a:extLst>
          </p:cNvPr>
          <p:cNvGrpSpPr/>
          <p:nvPr/>
        </p:nvGrpSpPr>
        <p:grpSpPr>
          <a:xfrm>
            <a:off x="6192434" y="2353793"/>
            <a:ext cx="5154240" cy="3087203"/>
            <a:chOff x="787918" y="2035742"/>
            <a:chExt cx="5154240" cy="3087203"/>
          </a:xfrm>
        </p:grpSpPr>
        <p:pic>
          <p:nvPicPr>
            <p:cNvPr id="2" name="그림 1">
              <a:extLst>
                <a:ext uri="{FF2B5EF4-FFF2-40B4-BE49-F238E27FC236}">
                  <a16:creationId xmlns:a16="http://schemas.microsoft.com/office/drawing/2014/main" id="{F3BA6AAD-7BF3-45E6-82C5-5B33A21E6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7918" y="2035742"/>
              <a:ext cx="5154240" cy="3087203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DAA5ABF-9EA4-440A-905C-356D209D6C98}"/>
                </a:ext>
              </a:extLst>
            </p:cNvPr>
            <p:cNvSpPr txBox="1"/>
            <p:nvPr/>
          </p:nvSpPr>
          <p:spPr>
            <a:xfrm>
              <a:off x="2281187" y="2988644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은평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43BD1-1B90-478F-B176-1B3A43F24ABA}"/>
                </a:ext>
              </a:extLst>
            </p:cNvPr>
            <p:cNvSpPr txBox="1"/>
            <p:nvPr/>
          </p:nvSpPr>
          <p:spPr>
            <a:xfrm>
              <a:off x="2893400" y="2773200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강북</a:t>
              </a:r>
              <a:endParaRPr lang="ko-KR" altLang="en-US" sz="800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7B6F969-A511-468C-99CB-D9CCB097EBD0}"/>
                </a:ext>
              </a:extLst>
            </p:cNvPr>
            <p:cNvSpPr txBox="1"/>
            <p:nvPr/>
          </p:nvSpPr>
          <p:spPr>
            <a:xfrm>
              <a:off x="3113384" y="2511714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도봉</a:t>
              </a:r>
              <a:endParaRPr lang="ko-KR" altLang="en-US" sz="800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EA30D82-D168-4C4D-B3BD-2748120E6A3F}"/>
                </a:ext>
              </a:extLst>
            </p:cNvPr>
            <p:cNvSpPr txBox="1"/>
            <p:nvPr/>
          </p:nvSpPr>
          <p:spPr>
            <a:xfrm>
              <a:off x="3434497" y="2819722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노원</a:t>
              </a:r>
              <a:endParaRPr lang="ko-KR" altLang="en-US" sz="800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220B397-9130-47FC-B964-0275C0756747}"/>
                </a:ext>
              </a:extLst>
            </p:cNvPr>
            <p:cNvSpPr txBox="1"/>
            <p:nvPr/>
          </p:nvSpPr>
          <p:spPr>
            <a:xfrm>
              <a:off x="3580210" y="3195095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중랑</a:t>
              </a:r>
              <a:endParaRPr lang="ko-KR" altLang="en-US" sz="800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588523A-40EE-483B-B39F-167895DD3E2E}"/>
                </a:ext>
              </a:extLst>
            </p:cNvPr>
            <p:cNvSpPr txBox="1"/>
            <p:nvPr/>
          </p:nvSpPr>
          <p:spPr>
            <a:xfrm>
              <a:off x="2988801" y="3173762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성북</a:t>
              </a:r>
              <a:endParaRPr lang="ko-KR" altLang="en-US" sz="8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B8D4C1C-BEBA-4AA0-B063-0DA5C7CEA9AB}"/>
                </a:ext>
              </a:extLst>
            </p:cNvPr>
            <p:cNvSpPr txBox="1"/>
            <p:nvPr/>
          </p:nvSpPr>
          <p:spPr>
            <a:xfrm>
              <a:off x="3205143" y="3372923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동대문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E1ACFC-8AD6-4266-B4BE-3D43C0D55CA1}"/>
                </a:ext>
              </a:extLst>
            </p:cNvPr>
            <p:cNvSpPr txBox="1"/>
            <p:nvPr/>
          </p:nvSpPr>
          <p:spPr>
            <a:xfrm>
              <a:off x="2643729" y="3321278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종로</a:t>
              </a:r>
              <a:endParaRPr lang="ko-KR" altLang="en-US" sz="8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27A0B38-DA55-4A45-8E49-D62EF22E00F7}"/>
                </a:ext>
              </a:extLst>
            </p:cNvPr>
            <p:cNvSpPr txBox="1"/>
            <p:nvPr/>
          </p:nvSpPr>
          <p:spPr>
            <a:xfrm>
              <a:off x="2782574" y="3566311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중구</a:t>
              </a:r>
              <a:endParaRPr lang="ko-KR" altLang="en-US" sz="8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C961C12-362A-4A3C-8FCD-2094F84A507E}"/>
                </a:ext>
              </a:extLst>
            </p:cNvPr>
            <p:cNvSpPr txBox="1"/>
            <p:nvPr/>
          </p:nvSpPr>
          <p:spPr>
            <a:xfrm>
              <a:off x="3170387" y="3664902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성동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703D09-7AEF-4BA0-A111-6EDFFB721944}"/>
                </a:ext>
              </a:extLst>
            </p:cNvPr>
            <p:cNvSpPr txBox="1"/>
            <p:nvPr/>
          </p:nvSpPr>
          <p:spPr>
            <a:xfrm>
              <a:off x="3532443" y="3708672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광진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C689590-2E82-47E1-BE83-DED518BE72E6}"/>
                </a:ext>
              </a:extLst>
            </p:cNvPr>
            <p:cNvSpPr txBox="1"/>
            <p:nvPr/>
          </p:nvSpPr>
          <p:spPr>
            <a:xfrm>
              <a:off x="3987431" y="361945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강동</a:t>
              </a:r>
              <a:endParaRPr lang="ko-KR" altLang="en-US" sz="8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1006878-09B3-4B6F-A485-2999F569B571}"/>
                </a:ext>
              </a:extLst>
            </p:cNvPr>
            <p:cNvSpPr txBox="1"/>
            <p:nvPr/>
          </p:nvSpPr>
          <p:spPr>
            <a:xfrm>
              <a:off x="3732637" y="4090463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송파</a:t>
              </a:r>
              <a:endParaRPr lang="ko-KR" altLang="en-US" sz="8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030C402-A764-41E1-945A-BC0912C26B36}"/>
                </a:ext>
              </a:extLst>
            </p:cNvPr>
            <p:cNvSpPr txBox="1"/>
            <p:nvPr/>
          </p:nvSpPr>
          <p:spPr>
            <a:xfrm>
              <a:off x="3248273" y="413749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강남</a:t>
              </a:r>
              <a:endParaRPr lang="ko-KR" altLang="en-US" sz="8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5D7BC65-4826-405F-AF53-9460337DB8D9}"/>
                </a:ext>
              </a:extLst>
            </p:cNvPr>
            <p:cNvSpPr txBox="1"/>
            <p:nvPr/>
          </p:nvSpPr>
          <p:spPr>
            <a:xfrm>
              <a:off x="2924186" y="4320702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서초</a:t>
              </a:r>
              <a:endParaRPr lang="ko-KR" altLang="en-US" sz="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06D4641-7DDF-4740-A140-9064137428DE}"/>
                </a:ext>
              </a:extLst>
            </p:cNvPr>
            <p:cNvSpPr txBox="1"/>
            <p:nvPr/>
          </p:nvSpPr>
          <p:spPr>
            <a:xfrm>
              <a:off x="2709410" y="3851885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용산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0A41A5-4801-4ABD-ADEC-4285E8FCC217}"/>
                </a:ext>
              </a:extLst>
            </p:cNvPr>
            <p:cNvSpPr txBox="1"/>
            <p:nvPr/>
          </p:nvSpPr>
          <p:spPr>
            <a:xfrm>
              <a:off x="2295639" y="342900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서대문</a:t>
              </a:r>
              <a:endParaRPr lang="ko-KR" altLang="en-US" sz="800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655F72C-49E1-4E75-8C9E-F26188C8CA15}"/>
                </a:ext>
              </a:extLst>
            </p:cNvPr>
            <p:cNvSpPr txBox="1"/>
            <p:nvPr/>
          </p:nvSpPr>
          <p:spPr>
            <a:xfrm>
              <a:off x="2111658" y="357841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마포</a:t>
              </a:r>
              <a:endParaRPr lang="ko-KR" altLang="en-US" sz="800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3A9CEDF-AFDF-46F1-AE73-5AFF43501265}"/>
                </a:ext>
              </a:extLst>
            </p:cNvPr>
            <p:cNvSpPr txBox="1"/>
            <p:nvPr/>
          </p:nvSpPr>
          <p:spPr>
            <a:xfrm>
              <a:off x="1494310" y="3566311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강서</a:t>
              </a:r>
              <a:endParaRPr lang="ko-KR" altLang="en-US" sz="8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05533FE-50B3-4FCA-B6FD-8AB1C93929B1}"/>
                </a:ext>
              </a:extLst>
            </p:cNvPr>
            <p:cNvSpPr txBox="1"/>
            <p:nvPr/>
          </p:nvSpPr>
          <p:spPr>
            <a:xfrm>
              <a:off x="1707415" y="395960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양천</a:t>
              </a:r>
              <a:endParaRPr lang="ko-KR" altLang="en-US" sz="8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E16F4C-36DB-4365-B300-D5A8E4D91A5E}"/>
                </a:ext>
              </a:extLst>
            </p:cNvPr>
            <p:cNvSpPr txBox="1"/>
            <p:nvPr/>
          </p:nvSpPr>
          <p:spPr>
            <a:xfrm>
              <a:off x="2096608" y="392774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영등포</a:t>
              </a:r>
              <a:endParaRPr lang="ko-KR" altLang="en-US" sz="8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82A20E7-46D6-4BCC-A8C8-35375807182D}"/>
                </a:ext>
              </a:extLst>
            </p:cNvPr>
            <p:cNvSpPr txBox="1"/>
            <p:nvPr/>
          </p:nvSpPr>
          <p:spPr>
            <a:xfrm>
              <a:off x="2450850" y="412448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동작</a:t>
              </a:r>
              <a:endParaRPr lang="ko-KR" altLang="en-US" sz="8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9781831-CC07-4EA7-A87B-E09FAE9DFA77}"/>
                </a:ext>
              </a:extLst>
            </p:cNvPr>
            <p:cNvSpPr txBox="1"/>
            <p:nvPr/>
          </p:nvSpPr>
          <p:spPr>
            <a:xfrm>
              <a:off x="2414861" y="4431876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관악</a:t>
              </a:r>
              <a:endParaRPr lang="ko-KR" altLang="en-US" sz="800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C85ED6D-2192-47E5-BB74-9CC2A0D1BEAE}"/>
                </a:ext>
              </a:extLst>
            </p:cNvPr>
            <p:cNvSpPr txBox="1"/>
            <p:nvPr/>
          </p:nvSpPr>
          <p:spPr>
            <a:xfrm>
              <a:off x="2040726" y="4459733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금천</a:t>
              </a:r>
              <a:endParaRPr lang="ko-KR" altLang="en-US" sz="800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6FB0DB6-B07A-4C20-8F8E-751AA0CF4A68}"/>
                </a:ext>
              </a:extLst>
            </p:cNvPr>
            <p:cNvSpPr txBox="1"/>
            <p:nvPr/>
          </p:nvSpPr>
          <p:spPr>
            <a:xfrm>
              <a:off x="1632836" y="422501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구로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266EFFBC-0607-4002-AA54-73096CCA2DF2}"/>
              </a:ext>
            </a:extLst>
          </p:cNvPr>
          <p:cNvSpPr txBox="1"/>
          <p:nvPr/>
        </p:nvSpPr>
        <p:spPr>
          <a:xfrm>
            <a:off x="7815522" y="5522251"/>
            <a:ext cx="23663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/>
              <a:t>서울</a:t>
            </a:r>
            <a:r>
              <a:rPr lang="en-US" altLang="ko-KR" sz="1200" b="1" dirty="0"/>
              <a:t>-</a:t>
            </a:r>
            <a:r>
              <a:rPr lang="ko-KR" altLang="en-US" sz="1200" b="1" dirty="0"/>
              <a:t>자치구별 유기동물 보호 수</a:t>
            </a:r>
          </a:p>
        </p:txBody>
      </p: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204DCEDD-D469-4037-A3B9-FCC60FB47B10}"/>
              </a:ext>
            </a:extLst>
          </p:cNvPr>
          <p:cNvGrpSpPr/>
          <p:nvPr/>
        </p:nvGrpSpPr>
        <p:grpSpPr>
          <a:xfrm>
            <a:off x="734910" y="2353794"/>
            <a:ext cx="5154240" cy="3081862"/>
            <a:chOff x="6249842" y="2035743"/>
            <a:chExt cx="5154240" cy="3081862"/>
          </a:xfrm>
        </p:grpSpPr>
        <p:pic>
          <p:nvPicPr>
            <p:cNvPr id="71" name="그림 70">
              <a:extLst>
                <a:ext uri="{FF2B5EF4-FFF2-40B4-BE49-F238E27FC236}">
                  <a16:creationId xmlns:a16="http://schemas.microsoft.com/office/drawing/2014/main" id="{C9014F6C-0208-4F62-903D-BA2E49AFD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49842" y="2035743"/>
              <a:ext cx="5154240" cy="3081862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E67350B-D40B-4F62-B2BA-D73E8C30C1F8}"/>
                </a:ext>
              </a:extLst>
            </p:cNvPr>
            <p:cNvSpPr txBox="1"/>
            <p:nvPr/>
          </p:nvSpPr>
          <p:spPr>
            <a:xfrm>
              <a:off x="8130631" y="2880922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은평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426C4571-8E8A-4DA7-A951-A6B0FC295629}"/>
                </a:ext>
              </a:extLst>
            </p:cNvPr>
            <p:cNvSpPr txBox="1"/>
            <p:nvPr/>
          </p:nvSpPr>
          <p:spPr>
            <a:xfrm>
              <a:off x="8733218" y="2665478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강북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A6A6B31-E62D-48D3-9B7C-ADAF643FD308}"/>
                </a:ext>
              </a:extLst>
            </p:cNvPr>
            <p:cNvSpPr txBox="1"/>
            <p:nvPr/>
          </p:nvSpPr>
          <p:spPr>
            <a:xfrm>
              <a:off x="8948389" y="2403992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도봉</a:t>
              </a:r>
              <a:endParaRPr lang="ko-KR" altLang="en-US" sz="8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159DFF6-7CBE-4EA5-B0D7-287DCF9A342B}"/>
                </a:ext>
              </a:extLst>
            </p:cNvPr>
            <p:cNvSpPr txBox="1"/>
            <p:nvPr/>
          </p:nvSpPr>
          <p:spPr>
            <a:xfrm>
              <a:off x="9283941" y="2712000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노원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51C3993-0890-4A2A-803C-8FA42D55852C}"/>
                </a:ext>
              </a:extLst>
            </p:cNvPr>
            <p:cNvSpPr txBox="1"/>
            <p:nvPr/>
          </p:nvSpPr>
          <p:spPr>
            <a:xfrm>
              <a:off x="9410402" y="3096999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중랑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5E08738-A62B-4CDF-B9E7-4FE8C915A670}"/>
                </a:ext>
              </a:extLst>
            </p:cNvPr>
            <p:cNvSpPr txBox="1"/>
            <p:nvPr/>
          </p:nvSpPr>
          <p:spPr>
            <a:xfrm>
              <a:off x="8828619" y="3066040"/>
              <a:ext cx="4668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성북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E7A70EB-B8C0-4761-8AFA-83448543D71A}"/>
                </a:ext>
              </a:extLst>
            </p:cNvPr>
            <p:cNvSpPr txBox="1"/>
            <p:nvPr/>
          </p:nvSpPr>
          <p:spPr>
            <a:xfrm>
              <a:off x="9040148" y="327482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동대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C2C6CD9-4177-44CC-A8F2-2A2E01D17235}"/>
                </a:ext>
              </a:extLst>
            </p:cNvPr>
            <p:cNvSpPr txBox="1"/>
            <p:nvPr/>
          </p:nvSpPr>
          <p:spPr>
            <a:xfrm>
              <a:off x="8493173" y="3213556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종로</a:t>
              </a:r>
              <a:endParaRPr lang="ko-KR" altLang="en-US" sz="800" dirty="0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85F8296-12C4-4652-80FE-26BE6D4F2992}"/>
                </a:ext>
              </a:extLst>
            </p:cNvPr>
            <p:cNvSpPr txBox="1"/>
            <p:nvPr/>
          </p:nvSpPr>
          <p:spPr>
            <a:xfrm>
              <a:off x="8636831" y="3473028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중구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24ECE72-F67D-46E0-8342-4576C9C197C1}"/>
                </a:ext>
              </a:extLst>
            </p:cNvPr>
            <p:cNvSpPr txBox="1"/>
            <p:nvPr/>
          </p:nvSpPr>
          <p:spPr>
            <a:xfrm>
              <a:off x="9019831" y="355718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성동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C33B6360-8061-45B4-BF61-BD5D239B09C0}"/>
                </a:ext>
              </a:extLst>
            </p:cNvPr>
            <p:cNvSpPr txBox="1"/>
            <p:nvPr/>
          </p:nvSpPr>
          <p:spPr>
            <a:xfrm>
              <a:off x="9381887" y="360095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광진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4A9A830-948B-4B36-B845-110F4D9BBB01}"/>
                </a:ext>
              </a:extLst>
            </p:cNvPr>
            <p:cNvSpPr txBox="1"/>
            <p:nvPr/>
          </p:nvSpPr>
          <p:spPr>
            <a:xfrm>
              <a:off x="9832062" y="3530987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강동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33B6960-4237-4BA8-974A-8FE3A056D84B}"/>
                </a:ext>
              </a:extLst>
            </p:cNvPr>
            <p:cNvSpPr txBox="1"/>
            <p:nvPr/>
          </p:nvSpPr>
          <p:spPr>
            <a:xfrm>
              <a:off x="9567642" y="3973115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송파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A023BD-0765-4B6B-88CB-EBD81A03A9FF}"/>
                </a:ext>
              </a:extLst>
            </p:cNvPr>
            <p:cNvSpPr txBox="1"/>
            <p:nvPr/>
          </p:nvSpPr>
          <p:spPr>
            <a:xfrm>
              <a:off x="9073652" y="4029768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강남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26464AC6-B7E2-4879-9E16-DFFD7035C19F}"/>
                </a:ext>
              </a:extLst>
            </p:cNvPr>
            <p:cNvSpPr txBox="1"/>
            <p:nvPr/>
          </p:nvSpPr>
          <p:spPr>
            <a:xfrm>
              <a:off x="8749565" y="4212980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서초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3A1B92F-6C31-44D8-A768-6655F2DC5FED}"/>
                </a:ext>
              </a:extLst>
            </p:cNvPr>
            <p:cNvSpPr txBox="1"/>
            <p:nvPr/>
          </p:nvSpPr>
          <p:spPr>
            <a:xfrm>
              <a:off x="8544415" y="3748976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용산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323D8A8-C075-40AF-AE54-E6BE1138D2EC}"/>
                </a:ext>
              </a:extLst>
            </p:cNvPr>
            <p:cNvSpPr txBox="1"/>
            <p:nvPr/>
          </p:nvSpPr>
          <p:spPr>
            <a:xfrm>
              <a:off x="8121018" y="3321278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서대문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3C831E9-53E6-46AA-B7CB-9FF9FA8D13EB}"/>
                </a:ext>
              </a:extLst>
            </p:cNvPr>
            <p:cNvSpPr txBox="1"/>
            <p:nvPr/>
          </p:nvSpPr>
          <p:spPr>
            <a:xfrm>
              <a:off x="7961102" y="3470695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마포</a:t>
              </a:r>
              <a:endParaRPr lang="ko-KR" altLang="en-US" sz="800" dirty="0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C35FCF37-F287-49FC-9BA0-FF9C48181C50}"/>
                </a:ext>
              </a:extLst>
            </p:cNvPr>
            <p:cNvSpPr txBox="1"/>
            <p:nvPr/>
          </p:nvSpPr>
          <p:spPr>
            <a:xfrm>
              <a:off x="7343754" y="3458589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강서</a:t>
              </a:r>
              <a:endParaRPr lang="ko-KR" altLang="en-US" sz="800" dirty="0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4FCF17-06BE-453E-B9B2-BD6F610BE581}"/>
                </a:ext>
              </a:extLst>
            </p:cNvPr>
            <p:cNvSpPr txBox="1"/>
            <p:nvPr/>
          </p:nvSpPr>
          <p:spPr>
            <a:xfrm>
              <a:off x="7556859" y="3866324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양천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1410DFE-5325-4783-89C8-994D60431023}"/>
                </a:ext>
              </a:extLst>
            </p:cNvPr>
            <p:cNvSpPr txBox="1"/>
            <p:nvPr/>
          </p:nvSpPr>
          <p:spPr>
            <a:xfrm>
              <a:off x="7946052" y="3820018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영등포</a:t>
              </a:r>
              <a:endParaRPr lang="ko-KR" altLang="en-US" sz="800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BCAF550-0B07-4615-AFFB-525A439F62CA}"/>
                </a:ext>
              </a:extLst>
            </p:cNvPr>
            <p:cNvSpPr txBox="1"/>
            <p:nvPr/>
          </p:nvSpPr>
          <p:spPr>
            <a:xfrm>
              <a:off x="8300294" y="4026391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동작</a:t>
              </a:r>
              <a:endParaRPr lang="ko-KR" altLang="en-US" sz="8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2B2B626-057B-4422-82BB-5FF1506644AD}"/>
                </a:ext>
              </a:extLst>
            </p:cNvPr>
            <p:cNvSpPr txBox="1"/>
            <p:nvPr/>
          </p:nvSpPr>
          <p:spPr>
            <a:xfrm>
              <a:off x="8235427" y="4338593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/>
                <a:t>관악</a:t>
              </a:r>
              <a:endParaRPr lang="ko-KR" altLang="en-US" sz="8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A6CAF67-AAD4-459A-9354-5122DE3DADAC}"/>
                </a:ext>
              </a:extLst>
            </p:cNvPr>
            <p:cNvSpPr txBox="1"/>
            <p:nvPr/>
          </p:nvSpPr>
          <p:spPr>
            <a:xfrm>
              <a:off x="7880544" y="4356824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금천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5669AB5-B862-4DDA-A445-979AD4E4F2C9}"/>
                </a:ext>
              </a:extLst>
            </p:cNvPr>
            <p:cNvSpPr txBox="1"/>
            <p:nvPr/>
          </p:nvSpPr>
          <p:spPr>
            <a:xfrm>
              <a:off x="7482280" y="4117295"/>
              <a:ext cx="62879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800" dirty="0"/>
                <a:t>구로</a:t>
              </a: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EEE7FF25-4D3B-4743-A5A9-92C18E034CFD}"/>
              </a:ext>
            </a:extLst>
          </p:cNvPr>
          <p:cNvSpPr txBox="1"/>
          <p:nvPr/>
        </p:nvSpPr>
        <p:spPr>
          <a:xfrm>
            <a:off x="2336233" y="5515758"/>
            <a:ext cx="2015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/>
              <a:t>서울</a:t>
            </a:r>
            <a:r>
              <a:rPr lang="en-US" altLang="ko-KR" sz="1200" b="1" dirty="0"/>
              <a:t>-</a:t>
            </a:r>
            <a:r>
              <a:rPr lang="ko-KR" altLang="en-US" sz="1200" b="1" dirty="0"/>
              <a:t>자치구별 반려동물 수</a:t>
            </a:r>
          </a:p>
        </p:txBody>
      </p:sp>
    </p:spTree>
    <p:extLst>
      <p:ext uri="{BB962C8B-B14F-4D97-AF65-F5344CB8AC3E}">
        <p14:creationId xmlns:p14="http://schemas.microsoft.com/office/powerpoint/2010/main" val="28782192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916252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2-1) ‘</a:t>
            </a:r>
            <a:r>
              <a:rPr lang="ko-KR" altLang="en-US" b="1" dirty="0"/>
              <a:t>서울 자치구별</a:t>
            </a:r>
            <a:r>
              <a:rPr lang="en-US" altLang="ko-KR" b="1" dirty="0"/>
              <a:t>’</a:t>
            </a:r>
            <a:r>
              <a:rPr lang="ko-KR" altLang="en-US" b="1" dirty="0"/>
              <a:t> 반려동물 보유 수 비교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EDA50C7-5283-D941-A9CC-911174B2BD0E}"/>
              </a:ext>
            </a:extLst>
          </p:cNvPr>
          <p:cNvSpPr/>
          <p:nvPr/>
        </p:nvSpPr>
        <p:spPr>
          <a:xfrm flipH="1" flipV="1">
            <a:off x="1181063" y="5941748"/>
            <a:ext cx="25064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4E8567F-512E-7C4E-A19B-D340644727A6}"/>
              </a:ext>
            </a:extLst>
          </p:cNvPr>
          <p:cNvSpPr/>
          <p:nvPr/>
        </p:nvSpPr>
        <p:spPr>
          <a:xfrm flipH="1" flipV="1">
            <a:off x="1600163" y="5896029"/>
            <a:ext cx="17219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78F506-DB0C-FE40-B323-84F52697DDC8}"/>
              </a:ext>
            </a:extLst>
          </p:cNvPr>
          <p:cNvSpPr txBox="1"/>
          <p:nvPr/>
        </p:nvSpPr>
        <p:spPr>
          <a:xfrm>
            <a:off x="8335523" y="3210646"/>
            <a:ext cx="31600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b="1" dirty="0">
                <a:latin typeface="+mn-ea"/>
              </a:rPr>
              <a:t>서울시 반려동물 평균 수</a:t>
            </a:r>
            <a:endParaRPr kumimoji="1" lang="en-US" altLang="ko-KR" b="1" dirty="0">
              <a:latin typeface="+mn-ea"/>
            </a:endParaRPr>
          </a:p>
          <a:p>
            <a:pPr algn="ctr"/>
            <a:endParaRPr kumimoji="1" lang="en-US" altLang="ko-KR" b="1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전역 분포</a:t>
            </a:r>
            <a:endParaRPr kumimoji="1" lang="en-US" altLang="ko-KR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중구 </a:t>
            </a:r>
            <a:r>
              <a:rPr kumimoji="1" lang="en-US" altLang="ko-KR" dirty="0">
                <a:latin typeface="+mn-ea"/>
              </a:rPr>
              <a:t>2000(</a:t>
            </a:r>
            <a:r>
              <a:rPr kumimoji="1" lang="ko-KR" altLang="en-US" dirty="0">
                <a:latin typeface="+mn-ea"/>
              </a:rPr>
              <a:t>마리</a:t>
            </a:r>
            <a:r>
              <a:rPr kumimoji="1" lang="en-US" altLang="ko-KR" dirty="0">
                <a:latin typeface="+mn-ea"/>
              </a:rPr>
              <a:t>) ~</a:t>
            </a: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송파구 </a:t>
            </a:r>
            <a:r>
              <a:rPr kumimoji="1" lang="en-US" altLang="ko-KR" dirty="0">
                <a:latin typeface="+mn-ea"/>
              </a:rPr>
              <a:t>14000(</a:t>
            </a:r>
            <a:r>
              <a:rPr kumimoji="1" lang="ko-KR" altLang="en-US" dirty="0">
                <a:latin typeface="+mn-ea"/>
              </a:rPr>
              <a:t>마리</a:t>
            </a:r>
            <a:r>
              <a:rPr kumimoji="1" lang="en-US" altLang="ko-KR" dirty="0">
                <a:latin typeface="+mn-ea"/>
              </a:rPr>
              <a:t>)</a:t>
            </a:r>
            <a:r>
              <a:rPr kumimoji="1" lang="ko-KR" altLang="en-US" dirty="0">
                <a:latin typeface="+mn-ea"/>
              </a:rPr>
              <a:t> </a:t>
            </a:r>
            <a:endParaRPr kumimoji="1" lang="ko-Kore-KR" altLang="en-US" dirty="0">
              <a:latin typeface="+mn-ea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E565F24-610C-457A-917C-2216C4264E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102" y="1991969"/>
            <a:ext cx="7791821" cy="4147305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D87272DF-06A0-41E5-BCCA-69D644BB0586}"/>
              </a:ext>
            </a:extLst>
          </p:cNvPr>
          <p:cNvSpPr/>
          <p:nvPr/>
        </p:nvSpPr>
        <p:spPr>
          <a:xfrm flipH="1" flipV="1">
            <a:off x="7538774" y="5987467"/>
            <a:ext cx="25064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84D9DD8-08AF-48E4-831F-8C6A597E5F4D}"/>
              </a:ext>
            </a:extLst>
          </p:cNvPr>
          <p:cNvSpPr/>
          <p:nvPr/>
        </p:nvSpPr>
        <p:spPr>
          <a:xfrm flipH="1" flipV="1">
            <a:off x="1265288" y="5977307"/>
            <a:ext cx="25064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</p:spTree>
    <p:extLst>
      <p:ext uri="{BB962C8B-B14F-4D97-AF65-F5344CB8AC3E}">
        <p14:creationId xmlns:p14="http://schemas.microsoft.com/office/powerpoint/2010/main" val="123717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901423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2-2) ‘</a:t>
            </a:r>
            <a:r>
              <a:rPr lang="ko-KR" altLang="en-US" b="1" dirty="0"/>
              <a:t>연도별</a:t>
            </a:r>
            <a:r>
              <a:rPr lang="en-US" altLang="ko-KR" b="1" dirty="0"/>
              <a:t>’</a:t>
            </a:r>
            <a:r>
              <a:rPr lang="ko-KR" altLang="en-US" b="1" dirty="0"/>
              <a:t> 서울시 반려동물 수</a:t>
            </a:r>
            <a:r>
              <a:rPr lang="en-US" altLang="ko-KR" b="1" dirty="0"/>
              <a:t>,</a:t>
            </a:r>
            <a:r>
              <a:rPr lang="ko-KR" altLang="en-US" b="1" dirty="0"/>
              <a:t> 증감추이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B9790C-C57B-0F40-92D5-30EA4099A054}"/>
              </a:ext>
            </a:extLst>
          </p:cNvPr>
          <p:cNvSpPr txBox="1"/>
          <p:nvPr/>
        </p:nvSpPr>
        <p:spPr>
          <a:xfrm>
            <a:off x="8601799" y="3412435"/>
            <a:ext cx="37696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ko-KR" dirty="0"/>
          </a:p>
          <a:p>
            <a:pPr marL="285750" indent="-285750">
              <a:buFontTx/>
              <a:buChar char="-"/>
            </a:pPr>
            <a:r>
              <a:rPr kumimoji="1" lang="ko-KR" altLang="en-US" dirty="0"/>
              <a:t>매년 일정한 수의 반려동물</a:t>
            </a:r>
            <a:endParaRPr kumimoji="1" lang="en-US" altLang="ko-KR" dirty="0"/>
          </a:p>
          <a:p>
            <a:r>
              <a:rPr kumimoji="1" lang="en-US" altLang="ko-KR" dirty="0"/>
              <a:t>&gt;   </a:t>
            </a:r>
            <a:r>
              <a:rPr kumimoji="1" lang="ko-KR" altLang="en-US" dirty="0"/>
              <a:t>꾸준한 반려동물 관심도</a:t>
            </a:r>
            <a:endParaRPr kumimoji="1" lang="ko-Kore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25F4DAC-E69E-4E6F-B62A-02394E030B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371" y="1952531"/>
            <a:ext cx="8032402" cy="423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603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939781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3-1) ‘</a:t>
            </a:r>
            <a:r>
              <a:rPr lang="ko-KR" altLang="en-US" b="1" dirty="0"/>
              <a:t>서울 자치구별</a:t>
            </a:r>
            <a:r>
              <a:rPr lang="en-US" altLang="ko-KR" b="1" dirty="0"/>
              <a:t>’</a:t>
            </a:r>
            <a:r>
              <a:rPr lang="ko-KR" altLang="en-US" b="1" dirty="0"/>
              <a:t> 유기동물 현황 비교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366EAF-B7E7-9743-B534-15DCCF88605A}"/>
              </a:ext>
            </a:extLst>
          </p:cNvPr>
          <p:cNvSpPr txBox="1"/>
          <p:nvPr/>
        </p:nvSpPr>
        <p:spPr>
          <a:xfrm>
            <a:off x="8698650" y="2619971"/>
            <a:ext cx="32925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b="1" dirty="0">
                <a:latin typeface="+mn-ea"/>
              </a:rPr>
              <a:t>서울시 유기동물 평균 수</a:t>
            </a:r>
            <a:endParaRPr kumimoji="1" lang="en-US" altLang="ko-KR" b="1" dirty="0">
              <a:latin typeface="+mn-ea"/>
            </a:endParaRPr>
          </a:p>
          <a:p>
            <a:endParaRPr kumimoji="1" lang="en-US" altLang="ko-KR" b="1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전역 분포</a:t>
            </a:r>
            <a:endParaRPr kumimoji="1" lang="en-US" altLang="ko-KR" dirty="0">
              <a:latin typeface="+mn-ea"/>
            </a:endParaRPr>
          </a:p>
          <a:p>
            <a:pPr marL="285750" indent="-285750">
              <a:buFontTx/>
              <a:buChar char="-"/>
            </a:pPr>
            <a:endParaRPr kumimoji="1" lang="en-US" altLang="ko-KR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낮은 수 보유</a:t>
            </a:r>
            <a:r>
              <a:rPr kumimoji="1" lang="en-US" altLang="ko-KR" dirty="0">
                <a:latin typeface="+mn-ea"/>
              </a:rPr>
              <a:t> </a:t>
            </a:r>
          </a:p>
          <a:p>
            <a:r>
              <a:rPr kumimoji="1" lang="en-US" altLang="ko-KR" dirty="0">
                <a:latin typeface="+mn-ea"/>
              </a:rPr>
              <a:t>:    </a:t>
            </a:r>
            <a:r>
              <a:rPr kumimoji="1" lang="ko-KR" altLang="en-US" dirty="0">
                <a:latin typeface="+mn-ea"/>
              </a:rPr>
              <a:t>금천구</a:t>
            </a:r>
            <a:r>
              <a:rPr kumimoji="1" lang="en-US" altLang="ko-KR" dirty="0">
                <a:latin typeface="+mn-ea"/>
              </a:rPr>
              <a:t>&gt;</a:t>
            </a:r>
            <a:r>
              <a:rPr kumimoji="1" lang="ko-KR" altLang="en-US" dirty="0">
                <a:latin typeface="+mn-ea"/>
              </a:rPr>
              <a:t>중구</a:t>
            </a:r>
            <a:r>
              <a:rPr kumimoji="1" lang="en-US" altLang="ko-KR" dirty="0">
                <a:latin typeface="+mn-ea"/>
              </a:rPr>
              <a:t>&gt;</a:t>
            </a:r>
            <a:r>
              <a:rPr kumimoji="1" lang="ko-KR" altLang="en-US" dirty="0">
                <a:latin typeface="+mn-ea"/>
              </a:rPr>
              <a:t>서초구</a:t>
            </a:r>
            <a:endParaRPr kumimoji="1" lang="en-US" altLang="ko-KR" dirty="0">
              <a:latin typeface="+mn-ea"/>
            </a:endParaRPr>
          </a:p>
          <a:p>
            <a:endParaRPr kumimoji="1" lang="en-US" altLang="ko-KR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dirty="0">
                <a:latin typeface="+mn-ea"/>
              </a:rPr>
              <a:t>높은 수 보유</a:t>
            </a:r>
            <a:r>
              <a:rPr kumimoji="1" lang="en-US" altLang="ko-KR" dirty="0">
                <a:latin typeface="+mn-ea"/>
              </a:rPr>
              <a:t>: </a:t>
            </a:r>
          </a:p>
          <a:p>
            <a:r>
              <a:rPr kumimoji="1" lang="en-US" altLang="en-US" dirty="0">
                <a:latin typeface="+mn-ea"/>
              </a:rPr>
              <a:t>:    </a:t>
            </a:r>
            <a:r>
              <a:rPr kumimoji="1" lang="ko-KR" altLang="en-US" dirty="0">
                <a:latin typeface="+mn-ea"/>
              </a:rPr>
              <a:t>관악구</a:t>
            </a:r>
            <a:r>
              <a:rPr kumimoji="1" lang="en-US" altLang="ko-KR" dirty="0">
                <a:latin typeface="+mn-ea"/>
              </a:rPr>
              <a:t>&gt;</a:t>
            </a:r>
            <a:r>
              <a:rPr kumimoji="1" lang="ko-KR" altLang="en-US" dirty="0">
                <a:latin typeface="+mn-ea"/>
              </a:rPr>
              <a:t>마포구</a:t>
            </a:r>
            <a:r>
              <a:rPr kumimoji="1" lang="en-US" altLang="ko-KR" dirty="0">
                <a:latin typeface="+mn-ea"/>
              </a:rPr>
              <a:t>&gt;</a:t>
            </a:r>
            <a:r>
              <a:rPr kumimoji="1" lang="ko-KR" altLang="en-US" dirty="0">
                <a:latin typeface="+mn-ea"/>
              </a:rPr>
              <a:t>용산구</a:t>
            </a:r>
            <a:endParaRPr kumimoji="1" lang="ko-Kore-KR" altLang="en-US" dirty="0">
              <a:latin typeface="+mn-ea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59D268A-C848-4963-8F53-3470A5812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12" y="1773694"/>
            <a:ext cx="8177048" cy="427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36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8DF5EA99-9E98-4A63-83F9-DCDFC4C8D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853" y="1974574"/>
            <a:ext cx="7572617" cy="40444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895848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3-2) ‘</a:t>
            </a:r>
            <a:r>
              <a:rPr lang="ko-KR" altLang="en-US" b="1" dirty="0"/>
              <a:t>반려동물 등록제</a:t>
            </a:r>
            <a:r>
              <a:rPr lang="en-US" altLang="ko-KR" b="1" dirty="0"/>
              <a:t>’</a:t>
            </a:r>
            <a:r>
              <a:rPr lang="ko-KR" altLang="en-US" b="1" dirty="0"/>
              <a:t> 효과성 검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4CCE49-091F-7B4C-8733-54580448D1A9}"/>
              </a:ext>
            </a:extLst>
          </p:cNvPr>
          <p:cNvSpPr txBox="1"/>
          <p:nvPr/>
        </p:nvSpPr>
        <p:spPr>
          <a:xfrm>
            <a:off x="8123421" y="1974574"/>
            <a:ext cx="366364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kumimoji="1" lang="ko-KR" altLang="en-US" b="1" dirty="0">
                <a:latin typeface="+mn-ea"/>
              </a:rPr>
              <a:t>서울시 </a:t>
            </a:r>
            <a:r>
              <a:rPr kumimoji="1" lang="en-US" altLang="ko-KR" b="1" dirty="0">
                <a:latin typeface="+mn-ea"/>
              </a:rPr>
              <a:t>‘</a:t>
            </a:r>
            <a:r>
              <a:rPr kumimoji="1" lang="ko-KR" altLang="en-US" b="1" dirty="0">
                <a:latin typeface="+mn-ea"/>
              </a:rPr>
              <a:t>등록제</a:t>
            </a:r>
            <a:r>
              <a:rPr kumimoji="1" lang="en-US" altLang="ko-KR" b="1" dirty="0">
                <a:latin typeface="+mn-ea"/>
              </a:rPr>
              <a:t>’ </a:t>
            </a:r>
            <a:r>
              <a:rPr kumimoji="1" lang="ko-KR" altLang="en-US" b="1" dirty="0">
                <a:latin typeface="+mn-ea"/>
              </a:rPr>
              <a:t>시행 이후</a:t>
            </a:r>
            <a:endParaRPr kumimoji="1" lang="en-US" altLang="ko-KR" b="1" dirty="0">
              <a:latin typeface="+mn-ea"/>
            </a:endParaRPr>
          </a:p>
          <a:p>
            <a:pPr marL="285750" indent="-285750">
              <a:buFontTx/>
              <a:buChar char="-"/>
            </a:pPr>
            <a:endParaRPr kumimoji="1" lang="en-US" altLang="ko-KR" b="1" dirty="0">
              <a:latin typeface="+mn-ea"/>
            </a:endParaRPr>
          </a:p>
          <a:p>
            <a:r>
              <a:rPr kumimoji="1" lang="en-US" altLang="ko-Kore-KR" dirty="0">
                <a:latin typeface="+mn-ea"/>
              </a:rPr>
              <a:t>: </a:t>
            </a:r>
            <a:r>
              <a:rPr kumimoji="1" lang="ko-KR" altLang="en-US" dirty="0">
                <a:latin typeface="+mn-ea"/>
              </a:rPr>
              <a:t>지속적인 감소 추세</a:t>
            </a:r>
            <a:endParaRPr kumimoji="1" lang="en-US" altLang="ko-KR" dirty="0">
              <a:latin typeface="+mn-ea"/>
            </a:endParaRPr>
          </a:p>
          <a:p>
            <a:r>
              <a:rPr kumimoji="1" lang="en-US" altLang="ko-Kore-KR" dirty="0">
                <a:latin typeface="+mn-ea"/>
              </a:rPr>
              <a:t>&gt; 2019</a:t>
            </a:r>
            <a:r>
              <a:rPr kumimoji="1" lang="ko-KR" altLang="en-US" dirty="0">
                <a:latin typeface="+mn-ea"/>
              </a:rPr>
              <a:t>년과 </a:t>
            </a:r>
            <a:r>
              <a:rPr kumimoji="1" lang="en-US" altLang="ko-KR" dirty="0">
                <a:latin typeface="+mn-ea"/>
              </a:rPr>
              <a:t>2020</a:t>
            </a:r>
            <a:r>
              <a:rPr kumimoji="1" lang="ko-KR" altLang="en-US" dirty="0">
                <a:latin typeface="+mn-ea"/>
              </a:rPr>
              <a:t>년 사이의 </a:t>
            </a:r>
            <a:endParaRPr kumimoji="1" lang="en-US" altLang="ko-KR" dirty="0">
              <a:latin typeface="+mn-ea"/>
            </a:endParaRPr>
          </a:p>
          <a:p>
            <a:r>
              <a:rPr kumimoji="1" lang="en-US" altLang="ko-Kore-KR" dirty="0">
                <a:latin typeface="+mn-ea"/>
              </a:rPr>
              <a:t>  </a:t>
            </a:r>
            <a:r>
              <a:rPr kumimoji="1" lang="ko-KR" altLang="en-US" dirty="0">
                <a:latin typeface="+mn-ea"/>
              </a:rPr>
              <a:t>가장 큰 감소 폭↓</a:t>
            </a:r>
            <a:endParaRPr kumimoji="1" lang="en-US" altLang="ko-Kore-KR" dirty="0">
              <a:latin typeface="+mn-ea"/>
            </a:endParaRPr>
          </a:p>
          <a:p>
            <a:endParaRPr kumimoji="1" lang="en-US" altLang="ko-KR" dirty="0">
              <a:latin typeface="+mn-ea"/>
            </a:endParaRPr>
          </a:p>
          <a:p>
            <a:endParaRPr kumimoji="1" lang="en-US" altLang="ko-KR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kumimoji="1" lang="ko-KR" altLang="en-US" b="1" dirty="0">
                <a:latin typeface="+mn-ea"/>
              </a:rPr>
              <a:t>전국 단위</a:t>
            </a:r>
            <a:r>
              <a:rPr kumimoji="1" lang="en-US" altLang="ko-KR" b="1" dirty="0">
                <a:latin typeface="+mn-ea"/>
              </a:rPr>
              <a:t>, 16</a:t>
            </a:r>
            <a:r>
              <a:rPr kumimoji="1" lang="ko-KR" altLang="en-US" b="1" dirty="0">
                <a:latin typeface="+mn-ea"/>
              </a:rPr>
              <a:t>년도 </a:t>
            </a:r>
            <a:endParaRPr kumimoji="1" lang="en-US" altLang="ko-KR" b="1" dirty="0">
              <a:latin typeface="+mn-ea"/>
            </a:endParaRPr>
          </a:p>
          <a:p>
            <a:r>
              <a:rPr kumimoji="1" lang="en-US" altLang="ko-KR" b="1" dirty="0">
                <a:latin typeface="+mn-ea"/>
              </a:rPr>
              <a:t>‘</a:t>
            </a:r>
            <a:r>
              <a:rPr kumimoji="1" lang="ko-KR" altLang="en-US" b="1" dirty="0" err="1">
                <a:latin typeface="+mn-ea"/>
              </a:rPr>
              <a:t>농립축산식품부</a:t>
            </a:r>
            <a:r>
              <a:rPr kumimoji="1" lang="en-US" altLang="ko-KR" b="1" dirty="0">
                <a:latin typeface="+mn-ea"/>
              </a:rPr>
              <a:t>’  </a:t>
            </a:r>
            <a:r>
              <a:rPr kumimoji="1" lang="ko-KR" altLang="en-US" b="1" dirty="0">
                <a:latin typeface="+mn-ea"/>
              </a:rPr>
              <a:t>보도자료 발표</a:t>
            </a:r>
            <a:endParaRPr kumimoji="1" lang="en-US" altLang="ko-KR" b="1" dirty="0">
              <a:latin typeface="+mn-ea"/>
            </a:endParaRPr>
          </a:p>
          <a:p>
            <a:endParaRPr kumimoji="1" lang="en-US" altLang="ko-KR" b="1" dirty="0">
              <a:latin typeface="+mn-ea"/>
            </a:endParaRPr>
          </a:p>
          <a:p>
            <a:r>
              <a:rPr kumimoji="1" lang="en-US" altLang="ko-KR" dirty="0">
                <a:latin typeface="+mn-ea"/>
              </a:rPr>
              <a:t>: </a:t>
            </a:r>
            <a:r>
              <a:rPr kumimoji="1" lang="ko-KR" altLang="en-US" dirty="0">
                <a:latin typeface="+mn-ea"/>
              </a:rPr>
              <a:t>총 </a:t>
            </a:r>
            <a:r>
              <a:rPr lang="ko-KR" altLang="en-US" sz="1800" kern="0" spc="60" dirty="0">
                <a:solidFill>
                  <a:srgbClr val="000000"/>
                </a:solidFill>
                <a:effectLst/>
                <a:latin typeface="+mn-ea"/>
              </a:rPr>
              <a:t>구조된 </a:t>
            </a:r>
            <a:r>
              <a:rPr lang="ko-KR" altLang="en-US" sz="1800" kern="0" spc="60" dirty="0" err="1">
                <a:solidFill>
                  <a:srgbClr val="000000"/>
                </a:solidFill>
                <a:effectLst/>
                <a:latin typeface="+mn-ea"/>
              </a:rPr>
              <a:t>유실･유기동물</a:t>
            </a:r>
            <a:r>
              <a:rPr lang="ko-KR" altLang="en-US" sz="1800" kern="0" spc="60" dirty="0">
                <a:solidFill>
                  <a:srgbClr val="000000"/>
                </a:solidFill>
                <a:effectLst/>
                <a:latin typeface="+mn-ea"/>
              </a:rPr>
              <a:t>      </a:t>
            </a:r>
            <a:r>
              <a:rPr lang="en-US" altLang="ko-KR" sz="1800" kern="0" spc="60" dirty="0">
                <a:solidFill>
                  <a:srgbClr val="000000"/>
                </a:solidFill>
                <a:effectLst/>
                <a:latin typeface="+mn-ea"/>
              </a:rPr>
              <a:t>‘</a:t>
            </a:r>
            <a:r>
              <a:rPr lang="en-US" altLang="ko-KR" sz="1800" u="sng" kern="0" spc="60" dirty="0">
                <a:solidFill>
                  <a:srgbClr val="000000"/>
                </a:solidFill>
                <a:effectLst/>
                <a:latin typeface="+mn-ea"/>
              </a:rPr>
              <a:t>89,732</a:t>
            </a:r>
            <a:r>
              <a:rPr lang="ko-KR" altLang="en-US" sz="1800" kern="0" spc="60" dirty="0">
                <a:solidFill>
                  <a:srgbClr val="000000"/>
                </a:solidFill>
                <a:effectLst/>
                <a:latin typeface="+mn-ea"/>
              </a:rPr>
              <a:t>마리</a:t>
            </a:r>
            <a:r>
              <a:rPr lang="en-US" altLang="ko-KR" sz="1800" kern="0" spc="60" dirty="0">
                <a:solidFill>
                  <a:srgbClr val="000000"/>
                </a:solidFill>
                <a:effectLst/>
                <a:latin typeface="+mn-ea"/>
              </a:rPr>
              <a:t>’</a:t>
            </a:r>
          </a:p>
          <a:p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+mn-ea"/>
              </a:rPr>
              <a:t>&gt; 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+mn-ea"/>
              </a:rPr>
              <a:t>전년대비 </a:t>
            </a:r>
            <a:r>
              <a:rPr lang="en-US" altLang="ko-KR" sz="1800" u="sng" kern="0" spc="-60" dirty="0">
                <a:solidFill>
                  <a:srgbClr val="000000"/>
                </a:solidFill>
                <a:effectLst/>
                <a:latin typeface="+mn-ea"/>
              </a:rPr>
              <a:t>9.3%</a:t>
            </a:r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+mn-ea"/>
              </a:rPr>
              <a:t>증가↑</a:t>
            </a:r>
            <a:endParaRPr lang="en-US" altLang="ko-KR" sz="1800" kern="0" spc="-60" dirty="0">
              <a:solidFill>
                <a:srgbClr val="000000"/>
              </a:solidFill>
              <a:effectLst/>
              <a:latin typeface="+mn-ea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kern="0" spc="-60" dirty="0">
              <a:solidFill>
                <a:srgbClr val="000000"/>
              </a:solidFill>
              <a:latin typeface="+mn-ea"/>
            </a:endParaRPr>
          </a:p>
          <a:p>
            <a:r>
              <a:rPr lang="en-US" altLang="ko-KR" sz="1800" kern="0" spc="-60" dirty="0">
                <a:solidFill>
                  <a:srgbClr val="000000"/>
                </a:solidFill>
                <a:effectLst/>
                <a:latin typeface="+mn-ea"/>
              </a:rPr>
              <a:t>&gt;&gt; </a:t>
            </a:r>
            <a:r>
              <a:rPr lang="ko-KR" altLang="en-US" sz="1800" kern="0" spc="-60" dirty="0">
                <a:solidFill>
                  <a:srgbClr val="000000"/>
                </a:solidFill>
                <a:effectLst/>
                <a:latin typeface="+mn-ea"/>
              </a:rPr>
              <a:t>지역별 다른 이행 시기</a:t>
            </a:r>
            <a:endParaRPr lang="en-US" altLang="ko-KR" sz="1800" kern="0" spc="-60" dirty="0">
              <a:solidFill>
                <a:srgbClr val="000000"/>
              </a:solidFill>
              <a:effectLst/>
              <a:latin typeface="+mn-ea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7BCCC686-A356-4B35-8719-4108A1B4320B}"/>
              </a:ext>
            </a:extLst>
          </p:cNvPr>
          <p:cNvCxnSpPr>
            <a:cxnSpLocks/>
          </p:cNvCxnSpPr>
          <p:nvPr/>
        </p:nvCxnSpPr>
        <p:spPr>
          <a:xfrm>
            <a:off x="6884616" y="3109616"/>
            <a:ext cx="0" cy="497593"/>
          </a:xfrm>
          <a:prstGeom prst="straightConnector1">
            <a:avLst/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타원 9">
            <a:extLst>
              <a:ext uri="{FF2B5EF4-FFF2-40B4-BE49-F238E27FC236}">
                <a16:creationId xmlns:a16="http://schemas.microsoft.com/office/drawing/2014/main" id="{50BFDCB3-66B0-4FF0-AB88-83A6F2B4B61D}"/>
              </a:ext>
            </a:extLst>
          </p:cNvPr>
          <p:cNvSpPr/>
          <p:nvPr/>
        </p:nvSpPr>
        <p:spPr>
          <a:xfrm>
            <a:off x="6487631" y="2936375"/>
            <a:ext cx="775317" cy="809331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3EBCDD-A614-46C8-9156-9DD3CADA5B71}"/>
              </a:ext>
            </a:extLst>
          </p:cNvPr>
          <p:cNvSpPr txBox="1"/>
          <p:nvPr/>
        </p:nvSpPr>
        <p:spPr>
          <a:xfrm>
            <a:off x="572778" y="5899879"/>
            <a:ext cx="1406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spc="-150" dirty="0">
                <a:solidFill>
                  <a:srgbClr val="C00000"/>
                </a:solidFill>
              </a:rPr>
              <a:t>첫 제도 시행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9FEA74-8ADA-4FBE-8CC4-43D369FB8748}"/>
              </a:ext>
            </a:extLst>
          </p:cNvPr>
          <p:cNvSpPr txBox="1"/>
          <p:nvPr/>
        </p:nvSpPr>
        <p:spPr>
          <a:xfrm>
            <a:off x="6214377" y="5899879"/>
            <a:ext cx="11354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spc="-150" dirty="0">
                <a:solidFill>
                  <a:srgbClr val="C00000"/>
                </a:solidFill>
              </a:rPr>
              <a:t>제도 개정</a:t>
            </a:r>
          </a:p>
        </p:txBody>
      </p: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6034EC67-7FBE-4077-8EF7-4C9BAFAEA249}"/>
              </a:ext>
            </a:extLst>
          </p:cNvPr>
          <p:cNvCxnSpPr>
            <a:cxnSpLocks/>
          </p:cNvCxnSpPr>
          <p:nvPr/>
        </p:nvCxnSpPr>
        <p:spPr>
          <a:xfrm>
            <a:off x="1097280" y="2425120"/>
            <a:ext cx="5787336" cy="684496"/>
          </a:xfrm>
          <a:prstGeom prst="straightConnector1">
            <a:avLst/>
          </a:prstGeom>
          <a:ln w="19050">
            <a:solidFill>
              <a:srgbClr val="C00000"/>
            </a:solidFill>
            <a:headEnd type="oval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92027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975017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3-3) ‘</a:t>
            </a:r>
            <a:r>
              <a:rPr lang="ko-KR" altLang="en-US" b="1" dirty="0"/>
              <a:t>반려동물 등록제</a:t>
            </a:r>
            <a:r>
              <a:rPr lang="en-US" altLang="ko-KR" b="1" dirty="0"/>
              <a:t>’</a:t>
            </a:r>
            <a:r>
              <a:rPr lang="ko-KR" altLang="en-US" b="1" dirty="0"/>
              <a:t> 효과성 검증 </a:t>
            </a:r>
            <a:r>
              <a:rPr lang="en-US" altLang="ko-KR" b="1" dirty="0"/>
              <a:t>(2)</a:t>
            </a:r>
            <a:endParaRPr lang="ko-KR" altLang="en-US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E77544-86A5-F744-87EB-BDED596F0668}"/>
              </a:ext>
            </a:extLst>
          </p:cNvPr>
          <p:cNvSpPr txBox="1"/>
          <p:nvPr/>
        </p:nvSpPr>
        <p:spPr>
          <a:xfrm>
            <a:off x="8638242" y="3213642"/>
            <a:ext cx="346485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b="1" dirty="0"/>
              <a:t>서울시 </a:t>
            </a:r>
            <a:r>
              <a:rPr kumimoji="1" lang="en-US" altLang="ko-KR" b="1" u="sng" dirty="0"/>
              <a:t>‘</a:t>
            </a:r>
            <a:r>
              <a:rPr kumimoji="1" lang="ko-KR" altLang="en-US" b="1" u="sng" dirty="0"/>
              <a:t>자치구별</a:t>
            </a:r>
            <a:r>
              <a:rPr kumimoji="1" lang="en-US" altLang="ko-KR" b="1" u="sng" dirty="0"/>
              <a:t>+</a:t>
            </a:r>
            <a:r>
              <a:rPr kumimoji="1" lang="ko-KR" altLang="en-US" b="1" u="sng" dirty="0"/>
              <a:t>기간별</a:t>
            </a:r>
            <a:r>
              <a:rPr kumimoji="1" lang="en-US" altLang="ko-KR" b="1" u="sng" dirty="0"/>
              <a:t>’</a:t>
            </a:r>
            <a:r>
              <a:rPr kumimoji="1" lang="ko-KR" altLang="en-US" b="1" dirty="0"/>
              <a:t> </a:t>
            </a:r>
            <a:endParaRPr kumimoji="1" lang="en-US" altLang="ko-KR" b="1" dirty="0"/>
          </a:p>
          <a:p>
            <a:pPr algn="ctr"/>
            <a:r>
              <a:rPr kumimoji="1" lang="ko-KR" altLang="en-US" b="1" dirty="0"/>
              <a:t>유기동물 수</a:t>
            </a:r>
            <a:endParaRPr kumimoji="1" lang="en-US" altLang="ko-KR" b="1" dirty="0"/>
          </a:p>
          <a:p>
            <a:pPr algn="ctr"/>
            <a:endParaRPr kumimoji="1" lang="en-US" altLang="en-US" b="1" dirty="0"/>
          </a:p>
          <a:p>
            <a:pPr marL="285750" indent="-285750">
              <a:buFontTx/>
              <a:buChar char="-"/>
            </a:pPr>
            <a:r>
              <a:rPr kumimoji="1" lang="en-US" altLang="ko-KR" u="sng" dirty="0"/>
              <a:t>‘</a:t>
            </a:r>
            <a:r>
              <a:rPr kumimoji="1" lang="ko-KR" altLang="en-US" u="sng" dirty="0"/>
              <a:t>지역별로</a:t>
            </a:r>
            <a:r>
              <a:rPr kumimoji="1" lang="en-US" altLang="ko-KR" u="sng" dirty="0"/>
              <a:t>, </a:t>
            </a:r>
            <a:r>
              <a:rPr kumimoji="1" lang="ko-KR" altLang="en-US" u="sng" dirty="0"/>
              <a:t>시간과 관계 없이</a:t>
            </a:r>
            <a:r>
              <a:rPr kumimoji="1" lang="en-US" altLang="ko-KR" u="sng" dirty="0"/>
              <a:t>’</a:t>
            </a:r>
            <a:r>
              <a:rPr kumimoji="1" lang="en-US" altLang="ko-KR" dirty="0"/>
              <a:t> </a:t>
            </a:r>
          </a:p>
          <a:p>
            <a:pPr marL="285750" indent="-285750">
              <a:buFontTx/>
              <a:buChar char="-"/>
            </a:pPr>
            <a:r>
              <a:rPr kumimoji="1" lang="ko-KR" altLang="en-US" dirty="0"/>
              <a:t>대체로 비슷한</a:t>
            </a:r>
            <a:endParaRPr kumimoji="1" lang="en-US" altLang="ko-KR" dirty="0"/>
          </a:p>
          <a:p>
            <a:r>
              <a:rPr kumimoji="1" lang="ko-KR" altLang="en-US" dirty="0"/>
              <a:t>    유기동물 수 보유 현황</a:t>
            </a:r>
            <a:endParaRPr kumimoji="1" lang="ko-Kore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238433D7-1F96-4DEE-BF6D-2767E9628D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66" y="1844166"/>
            <a:ext cx="8408276" cy="449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26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>
            <a:extLst>
              <a:ext uri="{FF2B5EF4-FFF2-40B4-BE49-F238E27FC236}">
                <a16:creationId xmlns:a16="http://schemas.microsoft.com/office/drawing/2014/main" id="{BF798C8A-053F-41F9-8FDB-B6AC45173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088" y="1992947"/>
            <a:ext cx="8493054" cy="435106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874002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4) ‘</a:t>
            </a:r>
            <a:r>
              <a:rPr lang="ko-KR" altLang="en-US" b="1" dirty="0"/>
              <a:t>서울 자치구별</a:t>
            </a:r>
            <a:r>
              <a:rPr lang="en-US" altLang="ko-KR" b="1" dirty="0"/>
              <a:t>’</a:t>
            </a:r>
            <a:r>
              <a:rPr lang="ko-KR" altLang="en-US" b="1" dirty="0"/>
              <a:t> 반려동물 보유 수</a:t>
            </a:r>
            <a:r>
              <a:rPr lang="en-US" altLang="ko-KR" b="1" dirty="0"/>
              <a:t>,</a:t>
            </a:r>
            <a:r>
              <a:rPr lang="ko-KR" altLang="en-US" b="1" dirty="0"/>
              <a:t> 유기동물현황 비교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5EB092-54FB-4CDC-BB23-22A276331EC2}"/>
              </a:ext>
            </a:extLst>
          </p:cNvPr>
          <p:cNvSpPr txBox="1"/>
          <p:nvPr/>
        </p:nvSpPr>
        <p:spPr>
          <a:xfrm>
            <a:off x="8727142" y="2042246"/>
            <a:ext cx="36172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b="1" dirty="0"/>
              <a:t>서울시 자치구별</a:t>
            </a:r>
            <a:endParaRPr kumimoji="1" lang="en-US" altLang="ko-KR" b="1" dirty="0"/>
          </a:p>
          <a:p>
            <a:pPr algn="ctr"/>
            <a:r>
              <a:rPr kumimoji="1" lang="en-US" altLang="en-US" b="1" u="sng" dirty="0"/>
              <a:t>‘</a:t>
            </a:r>
            <a:r>
              <a:rPr kumimoji="1" lang="ko-KR" altLang="en-US" b="1" u="sng" dirty="0"/>
              <a:t>반려동물 </a:t>
            </a:r>
            <a:r>
              <a:rPr kumimoji="1" lang="en-US" altLang="ko-KR" b="1" u="sng" dirty="0"/>
              <a:t>+ </a:t>
            </a:r>
            <a:r>
              <a:rPr kumimoji="1" lang="ko-KR" altLang="en-US" b="1" u="sng" dirty="0"/>
              <a:t>유기동물 수</a:t>
            </a:r>
            <a:r>
              <a:rPr kumimoji="1" lang="en-US" altLang="ko-KR" b="1" u="sng" dirty="0"/>
              <a:t>’</a:t>
            </a:r>
          </a:p>
          <a:p>
            <a:pPr algn="ctr"/>
            <a:endParaRPr kumimoji="1" lang="en-US" altLang="en-US" b="1" u="sng" dirty="0"/>
          </a:p>
          <a:p>
            <a:pPr marL="285750" indent="-285750">
              <a:buFontTx/>
              <a:buChar char="-"/>
            </a:pPr>
            <a:r>
              <a:rPr kumimoji="1" lang="ko-KR" altLang="en-US" dirty="0"/>
              <a:t>반려동물 수와 비례하지 </a:t>
            </a:r>
            <a:r>
              <a:rPr kumimoji="1" lang="ko-KR" altLang="en-US" u="sng" dirty="0"/>
              <a:t>않는</a:t>
            </a:r>
            <a:endParaRPr kumimoji="1" lang="en-US" altLang="ko-KR" u="sng" dirty="0"/>
          </a:p>
          <a:p>
            <a:r>
              <a:rPr kumimoji="1" lang="ko-KR" altLang="en-US" dirty="0"/>
              <a:t>    유기동물 수</a:t>
            </a:r>
            <a:endParaRPr kumimoji="1" lang="en-US" altLang="ko-KR" dirty="0"/>
          </a:p>
          <a:p>
            <a:endParaRPr kumimoji="1" lang="en-US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ko-KR" altLang="en-US" dirty="0"/>
              <a:t>높은 반려동물 수 보유 지역</a:t>
            </a:r>
            <a:endParaRPr kumimoji="1" lang="en-US" altLang="ko-KR" dirty="0"/>
          </a:p>
          <a:p>
            <a:r>
              <a:rPr kumimoji="1" lang="en-US" altLang="ko-KR" dirty="0"/>
              <a:t>     ↔ </a:t>
            </a:r>
            <a:r>
              <a:rPr kumimoji="1" lang="ko-KR" altLang="en-US" dirty="0"/>
              <a:t>낮은 유기동물 수</a:t>
            </a:r>
            <a:endParaRPr kumimoji="1" lang="en-US" altLang="ko-KR" dirty="0"/>
          </a:p>
          <a:p>
            <a:r>
              <a:rPr kumimoji="1" lang="en-US" altLang="en-US" dirty="0"/>
              <a:t>     (</a:t>
            </a:r>
            <a:r>
              <a:rPr kumimoji="1" lang="ko-KR" altLang="en-US" dirty="0"/>
              <a:t>서초구</a:t>
            </a:r>
            <a:r>
              <a:rPr kumimoji="1" lang="en-US" altLang="ko-KR" dirty="0"/>
              <a:t>-</a:t>
            </a:r>
            <a:r>
              <a:rPr kumimoji="1" lang="ko-KR" altLang="en-US" dirty="0"/>
              <a:t>강남구</a:t>
            </a:r>
            <a:r>
              <a:rPr kumimoji="1" lang="en-US" altLang="ko-KR" dirty="0"/>
              <a:t>-</a:t>
            </a:r>
            <a:r>
              <a:rPr kumimoji="1" lang="ko-KR" altLang="en-US" dirty="0"/>
              <a:t>송파구</a:t>
            </a:r>
            <a:r>
              <a:rPr kumimoji="1" lang="en-US" altLang="ko-KR" dirty="0"/>
              <a:t>)</a:t>
            </a:r>
          </a:p>
          <a:p>
            <a:endParaRPr kumimoji="1" lang="en-US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ko-KR" altLang="en-US" dirty="0"/>
              <a:t>가장 높은 유기 동물 수 보유</a:t>
            </a:r>
            <a:endParaRPr kumimoji="1" lang="en-US" altLang="ko-KR" dirty="0"/>
          </a:p>
          <a:p>
            <a:r>
              <a:rPr kumimoji="1" lang="en-US" altLang="ko-KR" dirty="0"/>
              <a:t>     </a:t>
            </a:r>
            <a:r>
              <a:rPr kumimoji="1" lang="ko-KR" altLang="en-US" dirty="0"/>
              <a:t>지역</a:t>
            </a:r>
            <a:r>
              <a:rPr kumimoji="1" lang="en-US" altLang="ko-KR" dirty="0"/>
              <a:t>: </a:t>
            </a:r>
            <a:r>
              <a:rPr kumimoji="1" lang="ko-KR" altLang="en-US" dirty="0"/>
              <a:t>관악구</a:t>
            </a:r>
            <a:endParaRPr kumimoji="1" lang="en-US" altLang="ko-KR" dirty="0"/>
          </a:p>
          <a:p>
            <a:endParaRPr kumimoji="1"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ko-KR" altLang="en-US" dirty="0"/>
              <a:t>대체로 유사</a:t>
            </a:r>
            <a:r>
              <a:rPr kumimoji="1" lang="en-US" altLang="ko-KR" dirty="0"/>
              <a:t>: </a:t>
            </a:r>
            <a:r>
              <a:rPr kumimoji="1" lang="ko-KR" altLang="en-US" dirty="0"/>
              <a:t>이외 지역</a:t>
            </a:r>
            <a:endParaRPr kumimoji="1" lang="en-US" altLang="ko-KR" dirty="0"/>
          </a:p>
          <a:p>
            <a:endParaRPr kumimoji="1"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kumimoji="1" lang="en-US" altLang="en-US" dirty="0"/>
          </a:p>
        </p:txBody>
      </p:sp>
      <p:sp>
        <p:nvSpPr>
          <p:cNvPr id="3" name="타원 2">
            <a:extLst>
              <a:ext uri="{FF2B5EF4-FFF2-40B4-BE49-F238E27FC236}">
                <a16:creationId xmlns:a16="http://schemas.microsoft.com/office/drawing/2014/main" id="{9E6D118C-2DA3-431A-898C-9E0E00360534}"/>
              </a:ext>
            </a:extLst>
          </p:cNvPr>
          <p:cNvSpPr/>
          <p:nvPr/>
        </p:nvSpPr>
        <p:spPr>
          <a:xfrm>
            <a:off x="839322" y="2532993"/>
            <a:ext cx="5489319" cy="3595287"/>
          </a:xfrm>
          <a:prstGeom prst="ellipse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FB8E61B4-D0C2-4A64-AA7A-10BC0B5690A0}"/>
              </a:ext>
            </a:extLst>
          </p:cNvPr>
          <p:cNvSpPr/>
          <p:nvPr/>
        </p:nvSpPr>
        <p:spPr>
          <a:xfrm>
            <a:off x="6328641" y="2201779"/>
            <a:ext cx="1011959" cy="392650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F8A44C80-22D9-4B40-B768-C08E93DA30FE}"/>
              </a:ext>
            </a:extLst>
          </p:cNvPr>
          <p:cNvSpPr/>
          <p:nvPr/>
        </p:nvSpPr>
        <p:spPr>
          <a:xfrm>
            <a:off x="6781800" y="2201779"/>
            <a:ext cx="1663700" cy="3926501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40816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0430D388-B77B-48FC-88DD-771B1669BF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1" y="2075270"/>
            <a:ext cx="8854571" cy="39576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84BEB5E-DC23-492B-9C0D-EC3762C83C55}"/>
              </a:ext>
            </a:extLst>
          </p:cNvPr>
          <p:cNvSpPr/>
          <p:nvPr/>
        </p:nvSpPr>
        <p:spPr>
          <a:xfrm>
            <a:off x="0" y="875308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</a:t>
            </a:r>
            <a:r>
              <a:rPr lang="en-US" altLang="ko-KR" b="1" dirty="0"/>
              <a:t>(5)  ‘</a:t>
            </a:r>
            <a:r>
              <a:rPr lang="ko-KR" altLang="en-US" b="1" dirty="0"/>
              <a:t>자치구별 평균소득</a:t>
            </a:r>
            <a:r>
              <a:rPr lang="en-US" altLang="ko-KR" b="1" dirty="0"/>
              <a:t>’</a:t>
            </a:r>
            <a:r>
              <a:rPr lang="ko-KR" altLang="en-US" b="1" dirty="0"/>
              <a:t>과 유기동물 수의 상관성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61A50B-74A6-D845-9586-2C2867C8C1E6}"/>
              </a:ext>
            </a:extLst>
          </p:cNvPr>
          <p:cNvSpPr txBox="1"/>
          <p:nvPr/>
        </p:nvSpPr>
        <p:spPr>
          <a:xfrm>
            <a:off x="8929795" y="1767842"/>
            <a:ext cx="326220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dirty="0"/>
              <a:t> </a:t>
            </a:r>
            <a:endParaRPr kumimoji="1" lang="en-US" altLang="en-US" dirty="0"/>
          </a:p>
          <a:p>
            <a:r>
              <a:rPr kumimoji="1" lang="en-US" altLang="ko-KR" dirty="0"/>
              <a:t>1. </a:t>
            </a:r>
            <a:r>
              <a:rPr kumimoji="1" lang="ko-KR" altLang="en-US" dirty="0"/>
              <a:t>높은 반려동물 수 보유 지역</a:t>
            </a:r>
            <a:endParaRPr kumimoji="1" lang="en-US" altLang="ko-KR" dirty="0"/>
          </a:p>
          <a:p>
            <a:r>
              <a:rPr kumimoji="1" lang="en-US" altLang="ko-KR" dirty="0">
                <a:latin typeface="+mn-ea"/>
              </a:rPr>
              <a:t>↔ </a:t>
            </a:r>
            <a:r>
              <a:rPr kumimoji="1" lang="ko-KR" altLang="en-US" dirty="0">
                <a:latin typeface="+mn-ea"/>
              </a:rPr>
              <a:t>낮은 유기동물 수</a:t>
            </a:r>
            <a:endParaRPr kumimoji="1" lang="en-US" altLang="ko-KR" dirty="0">
              <a:latin typeface="+mn-ea"/>
            </a:endParaRPr>
          </a:p>
          <a:p>
            <a:r>
              <a:rPr kumimoji="1" lang="en-US" altLang="en-US" dirty="0">
                <a:latin typeface="+mn-ea"/>
              </a:rPr>
              <a:t>    (</a:t>
            </a:r>
            <a:r>
              <a:rPr kumimoji="1" lang="ko-KR" altLang="en-US" dirty="0">
                <a:latin typeface="+mn-ea"/>
              </a:rPr>
              <a:t>서초구</a:t>
            </a:r>
            <a:r>
              <a:rPr kumimoji="1" lang="en-US" altLang="ko-KR" dirty="0">
                <a:latin typeface="+mn-ea"/>
              </a:rPr>
              <a:t>-</a:t>
            </a:r>
            <a:r>
              <a:rPr kumimoji="1" lang="ko-KR" altLang="en-US" dirty="0">
                <a:latin typeface="+mn-ea"/>
              </a:rPr>
              <a:t>강남구</a:t>
            </a:r>
            <a:r>
              <a:rPr kumimoji="1" lang="en-US" altLang="ko-KR" dirty="0">
                <a:latin typeface="+mn-ea"/>
              </a:rPr>
              <a:t>-</a:t>
            </a:r>
            <a:r>
              <a:rPr kumimoji="1" lang="ko-KR" altLang="en-US" dirty="0">
                <a:latin typeface="+mn-ea"/>
              </a:rPr>
              <a:t>송파구</a:t>
            </a:r>
            <a:r>
              <a:rPr kumimoji="1" lang="en-US" altLang="ko-KR" dirty="0">
                <a:latin typeface="+mn-ea"/>
              </a:rPr>
              <a:t>)</a:t>
            </a:r>
            <a:endParaRPr kumimoji="1" lang="en-US" altLang="ko-KR" dirty="0"/>
          </a:p>
          <a:p>
            <a:r>
              <a:rPr kumimoji="1" lang="en-US" altLang="ko-KR" b="1" dirty="0">
                <a:highlight>
                  <a:srgbClr val="FFFF00"/>
                </a:highlight>
              </a:rPr>
              <a:t>=&gt; </a:t>
            </a:r>
            <a:r>
              <a:rPr kumimoji="1" lang="ko-KR" altLang="en-US" b="1" dirty="0">
                <a:highlight>
                  <a:srgbClr val="FFFF00"/>
                </a:highlight>
              </a:rPr>
              <a:t>상위 소득 분위</a:t>
            </a:r>
            <a:endParaRPr kumimoji="1" lang="en-US" altLang="ko-KR" b="1" dirty="0">
              <a:highlight>
                <a:srgbClr val="FFFF00"/>
              </a:highlight>
            </a:endParaRPr>
          </a:p>
          <a:p>
            <a:endParaRPr kumimoji="1" lang="en-US" altLang="ko-KR" dirty="0"/>
          </a:p>
          <a:p>
            <a:endParaRPr kumimoji="1" lang="en-US" altLang="en-US" dirty="0"/>
          </a:p>
          <a:p>
            <a:r>
              <a:rPr kumimoji="1" lang="en-US" altLang="ko-KR" dirty="0"/>
              <a:t>2. </a:t>
            </a:r>
            <a:r>
              <a:rPr kumimoji="1" lang="ko-KR" altLang="en-US" dirty="0"/>
              <a:t>가장 높은 유기 동물 수 </a:t>
            </a:r>
            <a:endParaRPr kumimoji="1" lang="en-US" altLang="ko-KR" dirty="0"/>
          </a:p>
          <a:p>
            <a:r>
              <a:rPr kumimoji="1" lang="en-US" altLang="ko-KR" dirty="0"/>
              <a:t>     </a:t>
            </a:r>
            <a:r>
              <a:rPr kumimoji="1" lang="ko-KR" altLang="en-US" dirty="0"/>
              <a:t>보유</a:t>
            </a:r>
            <a:r>
              <a:rPr kumimoji="1" lang="en-US" altLang="ko-KR" dirty="0"/>
              <a:t> </a:t>
            </a:r>
            <a:r>
              <a:rPr kumimoji="1" lang="ko-KR" altLang="en-US" dirty="0"/>
              <a:t>지역</a:t>
            </a:r>
            <a:r>
              <a:rPr kumimoji="1" lang="en-US" altLang="ko-KR" dirty="0"/>
              <a:t>: </a:t>
            </a:r>
            <a:r>
              <a:rPr kumimoji="1" lang="ko-KR" altLang="en-US" dirty="0"/>
              <a:t>관악구</a:t>
            </a:r>
            <a:endParaRPr kumimoji="1" lang="en-US" altLang="ko-KR" dirty="0"/>
          </a:p>
          <a:p>
            <a:r>
              <a:rPr kumimoji="1" lang="en-US" altLang="ko-KR" b="1" dirty="0">
                <a:highlight>
                  <a:srgbClr val="FF0000"/>
                </a:highlight>
              </a:rPr>
              <a:t>=&gt; </a:t>
            </a:r>
            <a:r>
              <a:rPr kumimoji="1" lang="ko-KR" altLang="en-US" b="1" dirty="0">
                <a:highlight>
                  <a:srgbClr val="FF0000"/>
                </a:highlight>
              </a:rPr>
              <a:t>하위 소득 분위</a:t>
            </a:r>
            <a:endParaRPr kumimoji="1" lang="en-US" altLang="ko-KR" b="1" dirty="0">
              <a:highlight>
                <a:srgbClr val="FF0000"/>
              </a:highlight>
            </a:endParaRPr>
          </a:p>
          <a:p>
            <a:endParaRPr kumimoji="1" lang="en-US" altLang="ko-KR" dirty="0"/>
          </a:p>
          <a:p>
            <a:endParaRPr kumimoji="1" lang="en-US" altLang="ko-KR" dirty="0"/>
          </a:p>
          <a:p>
            <a:r>
              <a:rPr kumimoji="1" lang="en-US" altLang="ko-KR" dirty="0"/>
              <a:t>3. </a:t>
            </a:r>
            <a:r>
              <a:rPr kumimoji="1" lang="ko-KR" altLang="en-US" dirty="0"/>
              <a:t>대체로 유사한 흐름</a:t>
            </a:r>
            <a:endParaRPr kumimoji="1" lang="en-US" altLang="ko-KR" dirty="0"/>
          </a:p>
          <a:p>
            <a:r>
              <a:rPr kumimoji="1" lang="en-US" altLang="ko-KR" dirty="0"/>
              <a:t>    : </a:t>
            </a:r>
            <a:r>
              <a:rPr kumimoji="1" lang="ko-KR" altLang="en-US" dirty="0"/>
              <a:t>이외 지역</a:t>
            </a:r>
            <a:endParaRPr kumimoji="1" lang="en-US" altLang="ko-KR" dirty="0"/>
          </a:p>
          <a:p>
            <a:r>
              <a:rPr kumimoji="1" lang="en-US" altLang="ko-KR" b="1" dirty="0">
                <a:highlight>
                  <a:srgbClr val="60986B"/>
                </a:highlight>
              </a:rPr>
              <a:t>=&gt; </a:t>
            </a:r>
            <a:r>
              <a:rPr kumimoji="1" lang="ko-KR" altLang="en-US" b="1" dirty="0">
                <a:highlight>
                  <a:srgbClr val="60986B"/>
                </a:highlight>
              </a:rPr>
              <a:t>중간 소득 분위</a:t>
            </a:r>
            <a:endParaRPr kumimoji="1" lang="en-US" altLang="ko-KR" b="1" dirty="0">
              <a:highlight>
                <a:srgbClr val="60986B"/>
              </a:highlight>
            </a:endParaRPr>
          </a:p>
          <a:p>
            <a:endParaRPr kumimoji="1" lang="en-US" altLang="ko-KR" dirty="0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EA5E0409-3D86-47B2-BCE3-DCABEE18CE63}"/>
              </a:ext>
            </a:extLst>
          </p:cNvPr>
          <p:cNvSpPr/>
          <p:nvPr/>
        </p:nvSpPr>
        <p:spPr>
          <a:xfrm>
            <a:off x="5454769" y="3490005"/>
            <a:ext cx="2980739" cy="2247901"/>
          </a:xfrm>
          <a:prstGeom prst="ellipse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C659849F-71A2-47CC-8378-A273048388B1}"/>
              </a:ext>
            </a:extLst>
          </p:cNvPr>
          <p:cNvSpPr/>
          <p:nvPr/>
        </p:nvSpPr>
        <p:spPr>
          <a:xfrm>
            <a:off x="1497902" y="2339850"/>
            <a:ext cx="1011959" cy="3398058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80BD1DFF-222F-4123-82C9-554F95DD2611}"/>
              </a:ext>
            </a:extLst>
          </p:cNvPr>
          <p:cNvSpPr/>
          <p:nvPr/>
        </p:nvSpPr>
        <p:spPr>
          <a:xfrm>
            <a:off x="529639" y="2322096"/>
            <a:ext cx="1243705" cy="3415811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0B2A7A0E-DC5D-483E-A096-19D37CDE0086}"/>
              </a:ext>
            </a:extLst>
          </p:cNvPr>
          <p:cNvSpPr/>
          <p:nvPr/>
        </p:nvSpPr>
        <p:spPr>
          <a:xfrm>
            <a:off x="4449932" y="2322095"/>
            <a:ext cx="1243705" cy="3415811"/>
          </a:xfrm>
          <a:prstGeom prst="ellipse">
            <a:avLst/>
          </a:prstGeom>
          <a:noFill/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59684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>
            <a:extLst>
              <a:ext uri="{FF2B5EF4-FFF2-40B4-BE49-F238E27FC236}">
                <a16:creationId xmlns:a16="http://schemas.microsoft.com/office/drawing/2014/main" id="{55BA1943-E9EE-4E31-8F6C-A4557C2990BF}"/>
              </a:ext>
            </a:extLst>
          </p:cNvPr>
          <p:cNvSpPr/>
          <p:nvPr/>
        </p:nvSpPr>
        <p:spPr>
          <a:xfrm>
            <a:off x="538899" y="-1"/>
            <a:ext cx="5557099" cy="6367549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FC456F47-EF19-4E4F-9754-5251BBE226F1}"/>
              </a:ext>
            </a:extLst>
          </p:cNvPr>
          <p:cNvSpPr/>
          <p:nvPr/>
        </p:nvSpPr>
        <p:spPr>
          <a:xfrm>
            <a:off x="538899" y="1354971"/>
            <a:ext cx="620685" cy="4480562"/>
          </a:xfrm>
          <a:prstGeom prst="rect">
            <a:avLst/>
          </a:prstGeom>
          <a:pattFill prst="ltUpDiag">
            <a:fgClr>
              <a:srgbClr val="FFC334"/>
            </a:fgClr>
            <a:bgClr>
              <a:srgbClr val="E2AC2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340B735-BF26-49F7-B83A-B76228CE98A9}"/>
              </a:ext>
            </a:extLst>
          </p:cNvPr>
          <p:cNvSpPr/>
          <p:nvPr/>
        </p:nvSpPr>
        <p:spPr>
          <a:xfrm>
            <a:off x="1981200" y="4413933"/>
            <a:ext cx="10210799" cy="15673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F9041-FEF5-4A8A-8CB7-978FDCF9035A}"/>
              </a:ext>
            </a:extLst>
          </p:cNvPr>
          <p:cNvSpPr txBox="1"/>
          <p:nvPr/>
        </p:nvSpPr>
        <p:spPr>
          <a:xfrm>
            <a:off x="2286000" y="4607004"/>
            <a:ext cx="3400290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100" b="1" spc="-300" dirty="0">
                <a:solidFill>
                  <a:schemeClr val="bg1"/>
                </a:solidFill>
                <a:latin typeface="+mn-ea"/>
              </a:rPr>
              <a:t>결론 및 시사점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975F9-C18B-4907-99D3-19347FD65A76}"/>
              </a:ext>
            </a:extLst>
          </p:cNvPr>
          <p:cNvSpPr txBox="1"/>
          <p:nvPr/>
        </p:nvSpPr>
        <p:spPr>
          <a:xfrm>
            <a:off x="2302041" y="3591341"/>
            <a:ext cx="23230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6000" b="1" dirty="0">
                <a:solidFill>
                  <a:srgbClr val="017FA4"/>
                </a:solidFill>
              </a:rPr>
              <a:t>Part</a:t>
            </a:r>
            <a:r>
              <a:rPr lang="ko-KR" altLang="en-US" sz="6000" b="1" dirty="0">
                <a:solidFill>
                  <a:srgbClr val="017FA4"/>
                </a:solidFill>
              </a:rPr>
              <a:t> </a:t>
            </a:r>
            <a:r>
              <a:rPr lang="en-US" altLang="ko-KR" sz="6000" b="1" dirty="0">
                <a:solidFill>
                  <a:srgbClr val="017FA4"/>
                </a:solidFill>
              </a:rPr>
              <a:t>3</a:t>
            </a:r>
            <a:endParaRPr lang="ko-KR" altLang="en-US" sz="6000" b="1" dirty="0">
              <a:solidFill>
                <a:srgbClr val="017FA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B65DB3-27B6-4E2B-BF9C-AF338F057DEC}"/>
              </a:ext>
            </a:extLst>
          </p:cNvPr>
          <p:cNvSpPr txBox="1"/>
          <p:nvPr/>
        </p:nvSpPr>
        <p:spPr>
          <a:xfrm>
            <a:off x="10006664" y="6588607"/>
            <a:ext cx="21948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900" dirty="0">
                <a:solidFill>
                  <a:schemeClr val="bg1"/>
                </a:solidFill>
              </a:rPr>
              <a:t>ⓒSaebyeol Yu.</a:t>
            </a:r>
            <a:r>
              <a:rPr lang="ko-KR" altLang="en-US" sz="900" dirty="0">
                <a:solidFill>
                  <a:schemeClr val="bg1"/>
                </a:solidFill>
              </a:rPr>
              <a:t> </a:t>
            </a:r>
            <a:r>
              <a:rPr lang="en-US" altLang="ko-KR" sz="900" dirty="0" err="1">
                <a:solidFill>
                  <a:schemeClr val="bg1"/>
                </a:solidFill>
              </a:rPr>
              <a:t>Saebyeol’s</a:t>
            </a:r>
            <a:r>
              <a:rPr lang="ko-KR" altLang="en-US" sz="900" dirty="0">
                <a:solidFill>
                  <a:schemeClr val="bg1"/>
                </a:solidFill>
              </a:rPr>
              <a:t> </a:t>
            </a:r>
            <a:r>
              <a:rPr lang="en-US" altLang="ko-KR" sz="900" dirty="0">
                <a:solidFill>
                  <a:schemeClr val="bg1"/>
                </a:solidFill>
              </a:rPr>
              <a:t>PowerPoint</a:t>
            </a:r>
            <a:endParaRPr lang="ko-KR" alt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045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149DD2-4AC5-4F6B-B4D4-D93B937CFC46}"/>
              </a:ext>
            </a:extLst>
          </p:cNvPr>
          <p:cNvSpPr txBox="1"/>
          <p:nvPr/>
        </p:nvSpPr>
        <p:spPr>
          <a:xfrm>
            <a:off x="541670" y="226828"/>
            <a:ext cx="10038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300" dirty="0">
                <a:solidFill>
                  <a:schemeClr val="tx2">
                    <a:lumMod val="75000"/>
                  </a:schemeClr>
                </a:solidFill>
              </a:rPr>
              <a:t>결론 </a:t>
            </a:r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7FD094EE-24A5-42D3-B875-D770676BE86D}"/>
              </a:ext>
            </a:extLst>
          </p:cNvPr>
          <p:cNvSpPr txBox="1">
            <a:spLocks/>
          </p:cNvSpPr>
          <p:nvPr/>
        </p:nvSpPr>
        <p:spPr>
          <a:xfrm>
            <a:off x="-1209299" y="6175495"/>
            <a:ext cx="10515600" cy="2425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dirty="0">
              <a:solidFill>
                <a:srgbClr val="434343"/>
              </a:solidFill>
              <a:latin typeface="돋움" panose="020B0600000101010101" pitchFamily="50" charset="-127"/>
              <a:ea typeface="돋움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18C05C5A-81E6-4468-977A-37EBD54EB636}"/>
              </a:ext>
            </a:extLst>
          </p:cNvPr>
          <p:cNvSpPr/>
          <p:nvPr/>
        </p:nvSpPr>
        <p:spPr>
          <a:xfrm>
            <a:off x="0" y="915923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b="1" dirty="0"/>
              <a:t> 1) </a:t>
            </a:r>
            <a:r>
              <a:rPr lang="ko-KR" altLang="en-US" sz="2000" b="1" dirty="0"/>
              <a:t>기대효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6BB31E-E5FD-42E5-AA88-257B66CDFEC6}"/>
              </a:ext>
            </a:extLst>
          </p:cNvPr>
          <p:cNvSpPr txBox="1"/>
          <p:nvPr/>
        </p:nvSpPr>
        <p:spPr>
          <a:xfrm>
            <a:off x="442278" y="1878175"/>
            <a:ext cx="11497930" cy="4346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1.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2800" b="1" kern="0" spc="0" dirty="0">
                <a:solidFill>
                  <a:srgbClr val="000000"/>
                </a:solidFill>
                <a:effectLst/>
                <a:latin typeface="+mn-ea"/>
              </a:rPr>
              <a:t>향후 ‘반려동물 등록제</a:t>
            </a:r>
            <a:r>
              <a:rPr lang="en-US" altLang="ko-KR" sz="2800" b="1" kern="0" spc="0" dirty="0">
                <a:solidFill>
                  <a:srgbClr val="000000"/>
                </a:solidFill>
                <a:effectLst/>
                <a:latin typeface="+mn-ea"/>
              </a:rPr>
              <a:t>: </a:t>
            </a:r>
            <a:r>
              <a:rPr lang="ko-KR" altLang="en-US" sz="2800" b="1" kern="0" spc="0" dirty="0">
                <a:solidFill>
                  <a:srgbClr val="000000"/>
                </a:solidFill>
                <a:effectLst/>
                <a:latin typeface="+mn-ea"/>
              </a:rPr>
              <a:t>동물 보호법’ 강화의 필요성 및 동기 부여</a:t>
            </a:r>
            <a:endParaRPr lang="en-US" altLang="ko-KR" sz="2800" b="1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정부의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관심으로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동물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등록제도의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개정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이후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,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유기동물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수의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감소를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통해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영향이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있음을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알 수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있다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. </a:t>
            </a:r>
          </a:p>
          <a:p>
            <a:pPr marL="285750" indent="-285750">
              <a:buFontTx/>
              <a:buChar char="-"/>
            </a:pP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따라서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,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앞으로도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지속적인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법률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제도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개선이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요구된다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.</a:t>
            </a:r>
          </a:p>
          <a:p>
            <a:endParaRPr lang="ko-KR" altLang="en-US" sz="2800" b="1" kern="0" spc="0" dirty="0">
              <a:solidFill>
                <a:srgbClr val="000000"/>
              </a:solidFill>
              <a:effectLst/>
              <a:latin typeface="+mn-ea"/>
            </a:endParaRPr>
          </a:p>
          <a:p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2.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2800" b="1" kern="0" dirty="0" err="1">
                <a:solidFill>
                  <a:srgbClr val="000000"/>
                </a:solidFill>
                <a:latin typeface="+mn-ea"/>
              </a:rPr>
              <a:t>실행율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 증가</a:t>
            </a:r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를 위한 불편함 반영 및 개선</a:t>
            </a:r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홍보의 필요성</a:t>
            </a:r>
            <a:endParaRPr lang="en-US" altLang="ko-KR" sz="2800" b="1" kern="0" spc="0" dirty="0">
              <a:solidFill>
                <a:srgbClr val="000000"/>
              </a:solidFill>
              <a:effectLst/>
              <a:latin typeface="+mn-ea"/>
            </a:endParaRPr>
          </a:p>
          <a:p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- 2020년도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실제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국민들의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간편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등록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및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실효성을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반영한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내장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무선식별장치의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홍보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및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의무성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변화를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 </a:t>
            </a:r>
            <a:r>
              <a:rPr lang="en-US" altLang="ko-KR" kern="0" spc="0" dirty="0" err="1">
                <a:solidFill>
                  <a:srgbClr val="000000"/>
                </a:solidFill>
                <a:effectLst/>
                <a:latin typeface="+mn-ea"/>
              </a:rPr>
              <a:t>가진다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.</a:t>
            </a:r>
          </a:p>
          <a:p>
            <a:endParaRPr lang="ko-KR" altLang="en-US" sz="2800" b="1" kern="0" spc="0" dirty="0">
              <a:solidFill>
                <a:srgbClr val="000000"/>
              </a:solidFill>
              <a:effectLst/>
              <a:latin typeface="+mn-ea"/>
            </a:endParaRPr>
          </a:p>
          <a:p>
            <a:r>
              <a:rPr lang="en-US" altLang="ko-KR" sz="2800" b="1" kern="0" dirty="0">
                <a:solidFill>
                  <a:srgbClr val="000000"/>
                </a:solidFill>
                <a:latin typeface="+mn-ea"/>
              </a:rPr>
              <a:t>3.</a:t>
            </a:r>
            <a:r>
              <a:rPr lang="ko-KR" altLang="en-US" sz="2800" b="1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2800" b="1" kern="0" spc="0" dirty="0">
                <a:solidFill>
                  <a:srgbClr val="000000"/>
                </a:solidFill>
                <a:effectLst/>
                <a:latin typeface="+mn-ea"/>
              </a:rPr>
              <a:t>‘사회 시민 의식’ 향상 분위기</a:t>
            </a:r>
            <a:endParaRPr lang="ko-KR" altLang="en-US" sz="28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‘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동물학대 등의 관련한 범죄가 사람 대상으로 이어지는 경우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’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의 다반사 문제로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, </a:t>
            </a: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동물권리 인정 및 생명존중 가치의 실현으로 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‘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공동체 및 시민 윤리의식 증가</a:t>
            </a:r>
            <a:r>
              <a:rPr lang="en-US" altLang="ko-KR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 예상된다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. </a:t>
            </a: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동물 양육의 부담감 증대로 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‘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사회 문제 </a:t>
            </a:r>
            <a:r>
              <a:rPr lang="ko-KR" altLang="en-US" kern="0" dirty="0">
                <a:solidFill>
                  <a:srgbClr val="000000"/>
                </a:solidFill>
                <a:latin typeface="+mn-ea"/>
              </a:rPr>
              <a:t>인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식 및 개인 책임감 향상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’</a:t>
            </a:r>
            <a:r>
              <a:rPr lang="ko-KR" altLang="en-US" kern="0" spc="0" dirty="0">
                <a:solidFill>
                  <a:srgbClr val="000000"/>
                </a:solidFill>
                <a:effectLst/>
                <a:latin typeface="+mn-ea"/>
              </a:rPr>
              <a:t> 기대된다</a:t>
            </a:r>
            <a:r>
              <a:rPr lang="en-US" altLang="ko-KR" kern="0" spc="0" dirty="0">
                <a:solidFill>
                  <a:srgbClr val="000000"/>
                </a:solidFill>
                <a:effectLst/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73464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DEB49-6CC2-6048-AAD8-D82486C087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DEB49-6CC2-6048-AAD8-D82486C087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3A3686-7F61-2044-81A8-10D80FCE87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5190DF-D454-424C-BA20-4A4F178918A4}"/>
              </a:ext>
            </a:extLst>
          </p:cNvPr>
          <p:cNvSpPr/>
          <p:nvPr/>
        </p:nvSpPr>
        <p:spPr>
          <a:xfrm>
            <a:off x="538899" y="-1"/>
            <a:ext cx="5557099" cy="6367549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EFFBDF-7525-EF4A-9CB8-4D335B47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9585" y="490452"/>
            <a:ext cx="3478917" cy="609398"/>
          </a:xfrm>
        </p:spPr>
        <p:txBody>
          <a:bodyPr lIns="0" tIns="0" rIns="0" bIns="0">
            <a:spAutoFit/>
          </a:bodyPr>
          <a:lstStyle/>
          <a:p>
            <a:r>
              <a:rPr lang="ko-KR" altLang="en-US" b="1" dirty="0">
                <a:solidFill>
                  <a:schemeClr val="bg1"/>
                </a:solidFill>
              </a:rPr>
              <a:t>목차</a:t>
            </a:r>
            <a:endParaRPr lang="en-US" b="1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B95A3FC-A10D-BF4D-A833-411E2963042C}"/>
              </a:ext>
            </a:extLst>
          </p:cNvPr>
          <p:cNvCxnSpPr>
            <a:cxnSpLocks/>
          </p:cNvCxnSpPr>
          <p:nvPr/>
        </p:nvCxnSpPr>
        <p:spPr>
          <a:xfrm>
            <a:off x="5865962" y="3595252"/>
            <a:ext cx="5787138" cy="0"/>
          </a:xfrm>
          <a:prstGeom prst="straightConnector1">
            <a:avLst/>
          </a:prstGeom>
          <a:ln>
            <a:solidFill>
              <a:srgbClr val="FFC3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5B82CE7-DEE6-044A-AB2C-81B534ACC11E}"/>
              </a:ext>
            </a:extLst>
          </p:cNvPr>
          <p:cNvSpPr/>
          <p:nvPr/>
        </p:nvSpPr>
        <p:spPr>
          <a:xfrm>
            <a:off x="538899" y="1354971"/>
            <a:ext cx="620685" cy="4480562"/>
          </a:xfrm>
          <a:prstGeom prst="rect">
            <a:avLst/>
          </a:prstGeom>
          <a:pattFill prst="ltUpDiag">
            <a:fgClr>
              <a:srgbClr val="FFC334"/>
            </a:fgClr>
            <a:bgClr>
              <a:srgbClr val="E2AC2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321" name="Picture 9" descr="유기견 안락사 최선의 해법인가 | 디베이팅데이">
            <a:extLst>
              <a:ext uri="{FF2B5EF4-FFF2-40B4-BE49-F238E27FC236}">
                <a16:creationId xmlns:a16="http://schemas.microsoft.com/office/drawing/2014/main" id="{3C802C04-8D9B-45BC-A7CA-47D3FA11D3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165" y="1099850"/>
            <a:ext cx="6612835" cy="4459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5EFEED7-188F-3749-8736-CF866271745D}"/>
              </a:ext>
            </a:extLst>
          </p:cNvPr>
          <p:cNvSpPr/>
          <p:nvPr/>
        </p:nvSpPr>
        <p:spPr>
          <a:xfrm>
            <a:off x="1446381" y="1354971"/>
            <a:ext cx="8632638" cy="4480561"/>
          </a:xfrm>
          <a:prstGeom prst="rect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Tx/>
              <a:buChar char="-"/>
            </a:pP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7D1B11-A38F-4E7A-9EC0-F82B14C93EC7}"/>
              </a:ext>
            </a:extLst>
          </p:cNvPr>
          <p:cNvSpPr txBox="1"/>
          <p:nvPr/>
        </p:nvSpPr>
        <p:spPr>
          <a:xfrm>
            <a:off x="1698674" y="1585811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accent1"/>
                </a:solidFill>
              </a:rPr>
              <a:t>1</a:t>
            </a:r>
            <a:endParaRPr lang="ko-KR" altLang="en-US" sz="4800" b="1" dirty="0">
              <a:solidFill>
                <a:schemeClr val="accent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A6B286-F539-4B21-B212-16FCCEAD0575}"/>
              </a:ext>
            </a:extLst>
          </p:cNvPr>
          <p:cNvSpPr txBox="1"/>
          <p:nvPr/>
        </p:nvSpPr>
        <p:spPr>
          <a:xfrm>
            <a:off x="1698674" y="2614551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accent1"/>
                </a:solidFill>
              </a:rPr>
              <a:t>2</a:t>
            </a:r>
            <a:endParaRPr lang="ko-KR" altLang="en-US" sz="4800" b="1" dirty="0">
              <a:solidFill>
                <a:schemeClr val="accent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7BB743-301A-460E-81D2-F592603F700C}"/>
              </a:ext>
            </a:extLst>
          </p:cNvPr>
          <p:cNvSpPr txBox="1"/>
          <p:nvPr/>
        </p:nvSpPr>
        <p:spPr>
          <a:xfrm>
            <a:off x="1698674" y="3643291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accent1"/>
                </a:solidFill>
              </a:rPr>
              <a:t>3</a:t>
            </a:r>
            <a:endParaRPr lang="ko-KR" altLang="en-US" sz="4800" b="1" dirty="0">
              <a:solidFill>
                <a:schemeClr val="accent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50A79F-0E6C-4E32-87CE-6ADEBB5CF51F}"/>
              </a:ext>
            </a:extLst>
          </p:cNvPr>
          <p:cNvSpPr txBox="1"/>
          <p:nvPr/>
        </p:nvSpPr>
        <p:spPr>
          <a:xfrm>
            <a:off x="1698674" y="4672031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accent1"/>
                </a:solidFill>
              </a:rPr>
              <a:t>4</a:t>
            </a:r>
            <a:endParaRPr lang="ko-KR" altLang="en-US" sz="4800" b="1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079E06-8CB2-4BD4-90D5-650976C1001A}"/>
              </a:ext>
            </a:extLst>
          </p:cNvPr>
          <p:cNvSpPr txBox="1"/>
          <p:nvPr/>
        </p:nvSpPr>
        <p:spPr>
          <a:xfrm>
            <a:off x="2226383" y="1739699"/>
            <a:ext cx="7015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제안배경 및 필요성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A14A05-0E21-43A5-9946-F9BA99E93843}"/>
              </a:ext>
            </a:extLst>
          </p:cNvPr>
          <p:cNvSpPr txBox="1"/>
          <p:nvPr/>
        </p:nvSpPr>
        <p:spPr>
          <a:xfrm>
            <a:off x="2226383" y="2767592"/>
            <a:ext cx="7015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데이터 분석 내용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1ACBDF7-624C-428C-9223-29667B1ED3F5}"/>
              </a:ext>
            </a:extLst>
          </p:cNvPr>
          <p:cNvSpPr txBox="1"/>
          <p:nvPr/>
        </p:nvSpPr>
        <p:spPr>
          <a:xfrm>
            <a:off x="2254906" y="3802321"/>
            <a:ext cx="7015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결론 및 시사점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B93D50-EAF1-4B1D-8470-290D146EAA1A}"/>
              </a:ext>
            </a:extLst>
          </p:cNvPr>
          <p:cNvSpPr txBox="1"/>
          <p:nvPr/>
        </p:nvSpPr>
        <p:spPr>
          <a:xfrm>
            <a:off x="2254906" y="4818926"/>
            <a:ext cx="70155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참고자료</a:t>
            </a:r>
          </a:p>
        </p:txBody>
      </p:sp>
    </p:spTree>
    <p:extLst>
      <p:ext uri="{BB962C8B-B14F-4D97-AF65-F5344CB8AC3E}">
        <p14:creationId xmlns:p14="http://schemas.microsoft.com/office/powerpoint/2010/main" val="3890595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149DD2-4AC5-4F6B-B4D4-D93B937CFC46}"/>
              </a:ext>
            </a:extLst>
          </p:cNvPr>
          <p:cNvSpPr txBox="1"/>
          <p:nvPr/>
        </p:nvSpPr>
        <p:spPr>
          <a:xfrm>
            <a:off x="541670" y="226828"/>
            <a:ext cx="10038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300" dirty="0">
                <a:solidFill>
                  <a:schemeClr val="tx2">
                    <a:lumMod val="75000"/>
                  </a:schemeClr>
                </a:solidFill>
              </a:rPr>
              <a:t>결론 </a:t>
            </a:r>
          </a:p>
        </p:txBody>
      </p:sp>
      <p:pic>
        <p:nvPicPr>
          <p:cNvPr id="6" name="그림 5" descr="텍스트, 캐비닛이(가) 표시된 사진&#10;&#10;자동 생성된 설명">
            <a:extLst>
              <a:ext uri="{FF2B5EF4-FFF2-40B4-BE49-F238E27FC236}">
                <a16:creationId xmlns:a16="http://schemas.microsoft.com/office/drawing/2014/main" id="{7398AE67-47F5-1D4C-9B1A-5584E178865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70" y="1953179"/>
            <a:ext cx="6530074" cy="36195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F4A7B6-19AD-470E-848C-110D35C82D1B}"/>
              </a:ext>
            </a:extLst>
          </p:cNvPr>
          <p:cNvSpPr txBox="1"/>
          <p:nvPr/>
        </p:nvSpPr>
        <p:spPr>
          <a:xfrm>
            <a:off x="399170" y="5572744"/>
            <a:ext cx="29277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+mn-ea"/>
              </a:rPr>
              <a:t>(</a:t>
            </a:r>
            <a:r>
              <a:rPr lang="ko-KR" altLang="en-US" sz="1600" dirty="0">
                <a:latin typeface="+mn-ea"/>
              </a:rPr>
              <a:t>기준</a:t>
            </a:r>
            <a:r>
              <a:rPr lang="en-US" altLang="ko-KR" sz="1600" dirty="0">
                <a:latin typeface="+mn-ea"/>
              </a:rPr>
              <a:t>: 2016</a:t>
            </a:r>
            <a:r>
              <a:rPr lang="ko-KR" altLang="en-US" sz="1600" dirty="0">
                <a:latin typeface="+mn-ea"/>
              </a:rPr>
              <a:t>년</a:t>
            </a:r>
            <a:r>
              <a:rPr lang="en-US" altLang="ko-KR" sz="1600" dirty="0">
                <a:latin typeface="+mn-ea"/>
              </a:rPr>
              <a:t>)</a:t>
            </a:r>
            <a:endParaRPr lang="ko-KR" altLang="en-US" sz="1600" dirty="0"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9776183D-DD71-4B09-BBA1-5FE7971BB62A}"/>
              </a:ext>
            </a:extLst>
          </p:cNvPr>
          <p:cNvSpPr/>
          <p:nvPr/>
        </p:nvSpPr>
        <p:spPr>
          <a:xfrm>
            <a:off x="0" y="915923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b="1" dirty="0"/>
              <a:t> 2) </a:t>
            </a:r>
            <a:r>
              <a:rPr lang="ko-KR" altLang="en-US" sz="2000" b="1" dirty="0"/>
              <a:t>시사점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F3C4F-C596-4EE2-92CF-D2F6EA2AF6C9}"/>
              </a:ext>
            </a:extLst>
          </p:cNvPr>
          <p:cNvSpPr txBox="1"/>
          <p:nvPr/>
        </p:nvSpPr>
        <p:spPr>
          <a:xfrm>
            <a:off x="7096538" y="2033314"/>
            <a:ext cx="4696292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/>
              <a:t>4. ‘</a:t>
            </a:r>
            <a:r>
              <a:rPr lang="ko-KR" altLang="en-US" sz="2800" b="1" dirty="0"/>
              <a:t>운영 비용 절감</a:t>
            </a:r>
            <a:r>
              <a:rPr lang="en-US" altLang="ko-KR" sz="2800" b="1" dirty="0"/>
              <a:t>’</a:t>
            </a:r>
          </a:p>
          <a:p>
            <a:pPr algn="ctr"/>
            <a:endParaRPr lang="en-US" altLang="ko-KR" sz="2800" b="1" dirty="0"/>
          </a:p>
          <a:p>
            <a:pPr algn="ctr"/>
            <a:r>
              <a:rPr lang="en-US" altLang="ko-KR" sz="2400" b="1" dirty="0">
                <a:solidFill>
                  <a:srgbClr val="017FA4"/>
                </a:solidFill>
              </a:rPr>
              <a:t>‘</a:t>
            </a:r>
            <a:r>
              <a:rPr lang="ko-KR" altLang="en-US" sz="2400" b="1" dirty="0">
                <a:solidFill>
                  <a:srgbClr val="017FA4"/>
                </a:solidFill>
              </a:rPr>
              <a:t>소득 </a:t>
            </a:r>
            <a:r>
              <a:rPr lang="en-US" altLang="ko-KR" sz="2400" b="1" dirty="0">
                <a:solidFill>
                  <a:srgbClr val="017FA4"/>
                </a:solidFill>
              </a:rPr>
              <a:t>DATA </a:t>
            </a:r>
            <a:r>
              <a:rPr lang="ko-KR" altLang="en-US" sz="2400" b="1" dirty="0">
                <a:solidFill>
                  <a:srgbClr val="017FA4"/>
                </a:solidFill>
              </a:rPr>
              <a:t>분석</a:t>
            </a:r>
            <a:r>
              <a:rPr lang="en-US" altLang="ko-KR" sz="2400" b="1" dirty="0">
                <a:solidFill>
                  <a:srgbClr val="017FA4"/>
                </a:solidFill>
              </a:rPr>
              <a:t>’ </a:t>
            </a:r>
            <a:r>
              <a:rPr lang="ko-KR" altLang="en-US" sz="2400" b="1" dirty="0">
                <a:solidFill>
                  <a:srgbClr val="017FA4"/>
                </a:solidFill>
              </a:rPr>
              <a:t> </a:t>
            </a:r>
            <a:endParaRPr lang="en-US" altLang="ko-KR" sz="2400" b="1" dirty="0">
              <a:solidFill>
                <a:srgbClr val="017FA4"/>
              </a:solidFill>
            </a:endParaRPr>
          </a:p>
          <a:p>
            <a:pPr algn="ctr"/>
            <a:r>
              <a:rPr lang="ko-KR" altLang="en-US" sz="2400" dirty="0">
                <a:solidFill>
                  <a:srgbClr val="017FA4"/>
                </a:solidFill>
              </a:rPr>
              <a:t>관련한 추가 의견</a:t>
            </a:r>
            <a:endParaRPr lang="en-US" altLang="ko-KR" sz="2400" dirty="0">
              <a:solidFill>
                <a:srgbClr val="017FA4"/>
              </a:solidFill>
            </a:endParaRPr>
          </a:p>
          <a:p>
            <a:pPr algn="ctr"/>
            <a:r>
              <a:rPr lang="ko-KR" altLang="ko-KR" sz="2400" dirty="0">
                <a:solidFill>
                  <a:srgbClr val="017FA4"/>
                </a:solidFill>
              </a:rPr>
              <a:t>▼</a:t>
            </a:r>
            <a:endParaRPr lang="en-US" altLang="ko-KR" sz="2400" dirty="0">
              <a:solidFill>
                <a:srgbClr val="017FA4"/>
              </a:solidFill>
            </a:endParaRPr>
          </a:p>
          <a:p>
            <a:pPr algn="ctr"/>
            <a:endParaRPr lang="en-US" altLang="ko-KR" sz="2400" dirty="0">
              <a:solidFill>
                <a:srgbClr val="0070C0"/>
              </a:solidFill>
            </a:endParaRPr>
          </a:p>
          <a:p>
            <a:pPr marL="514350" indent="-514350" algn="ctr">
              <a:buAutoNum type="arabicPeriod" startAt="5"/>
            </a:pPr>
            <a:r>
              <a:rPr lang="ko-KR" altLang="en-US" sz="2800" b="1" dirty="0"/>
              <a:t>분양 절차 中 </a:t>
            </a:r>
            <a:endParaRPr lang="en-US" altLang="ko-KR" sz="2800" b="1" dirty="0"/>
          </a:p>
          <a:p>
            <a:pPr algn="ctr"/>
            <a:r>
              <a:rPr lang="ko-KR" altLang="en-US" sz="2800" b="1" u="sng" dirty="0"/>
              <a:t>동물 양육 기본 능력 </a:t>
            </a:r>
            <a:endParaRPr lang="en-US" altLang="ko-KR" sz="2800" b="1" u="sng" dirty="0"/>
          </a:p>
          <a:p>
            <a:pPr algn="ctr"/>
            <a:r>
              <a:rPr lang="ko-KR" altLang="en-US" sz="2800" b="1" dirty="0"/>
              <a:t>확인</a:t>
            </a:r>
            <a:r>
              <a:rPr lang="en-US" altLang="ko-KR" sz="2800" b="1" dirty="0"/>
              <a:t> </a:t>
            </a:r>
            <a:r>
              <a:rPr lang="ko-KR" altLang="en-US" sz="2800" b="1" dirty="0"/>
              <a:t>후 가능 제도</a:t>
            </a:r>
            <a:endParaRPr lang="en-US" altLang="ko-KR" sz="2800" b="1" dirty="0"/>
          </a:p>
        </p:txBody>
      </p:sp>
    </p:spTree>
    <p:extLst>
      <p:ext uri="{BB962C8B-B14F-4D97-AF65-F5344CB8AC3E}">
        <p14:creationId xmlns:p14="http://schemas.microsoft.com/office/powerpoint/2010/main" val="25375410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31C261-FB10-D247-911E-BEB597DEAF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31C261-FB10-D247-911E-BEB597DE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4725C7-10D9-B24A-B875-F1CB63E2F80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9314A7-9099-A447-AD5D-D940497B0321}"/>
              </a:ext>
            </a:extLst>
          </p:cNvPr>
          <p:cNvSpPr/>
          <p:nvPr/>
        </p:nvSpPr>
        <p:spPr>
          <a:xfrm>
            <a:off x="0" y="2583268"/>
            <a:ext cx="7569198" cy="4274731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004DDE-C411-494C-B26C-E22CBF926308}"/>
              </a:ext>
            </a:extLst>
          </p:cNvPr>
          <p:cNvSpPr/>
          <p:nvPr/>
        </p:nvSpPr>
        <p:spPr>
          <a:xfrm>
            <a:off x="575733" y="1642598"/>
            <a:ext cx="11040534" cy="4250202"/>
          </a:xfrm>
          <a:prstGeom prst="rect">
            <a:avLst/>
          </a:prstGeom>
          <a:solidFill>
            <a:srgbClr val="199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562FA-C984-DB48-9CF3-A20637D2B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rgbClr val="FFC000"/>
                </a:solidFill>
              </a:rPr>
              <a:t>‘</a:t>
            </a:r>
            <a:r>
              <a:rPr lang="ko-KR" altLang="en-US" b="1" dirty="0">
                <a:solidFill>
                  <a:srgbClr val="FFC000"/>
                </a:solidFill>
              </a:rPr>
              <a:t>선택</a:t>
            </a:r>
            <a:r>
              <a:rPr lang="en-US" altLang="ko-KR" b="1" dirty="0">
                <a:solidFill>
                  <a:srgbClr val="FFC000"/>
                </a:solidFill>
              </a:rPr>
              <a:t>’</a:t>
            </a:r>
            <a:r>
              <a:rPr lang="ko-KR" altLang="en-US" b="1" dirty="0"/>
              <a:t> </a:t>
            </a:r>
            <a:r>
              <a:rPr lang="ko-KR" altLang="en-US" sz="4000" dirty="0"/>
              <a:t>아닌</a:t>
            </a:r>
            <a:r>
              <a:rPr lang="ko-KR" altLang="en-US" b="1" dirty="0"/>
              <a:t> </a:t>
            </a:r>
            <a:r>
              <a:rPr lang="en-US" altLang="ko-KR" b="1" dirty="0">
                <a:solidFill>
                  <a:srgbClr val="FF0000"/>
                </a:solidFill>
              </a:rPr>
              <a:t>“</a:t>
            </a:r>
            <a:r>
              <a:rPr lang="ko-KR" altLang="en-US" b="1" dirty="0">
                <a:solidFill>
                  <a:srgbClr val="FF0000"/>
                </a:solidFill>
              </a:rPr>
              <a:t>필수</a:t>
            </a:r>
            <a:r>
              <a:rPr lang="en-US" altLang="ko-KR" b="1" dirty="0">
                <a:solidFill>
                  <a:srgbClr val="FF0000"/>
                </a:solidFill>
              </a:rPr>
              <a:t>”</a:t>
            </a:r>
            <a:endParaRPr lang="en-US" b="1" dirty="0">
              <a:solidFill>
                <a:srgbClr val="FF0000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8595DA-9AF5-1A4F-BEAE-46BB5FFBED75}"/>
              </a:ext>
            </a:extLst>
          </p:cNvPr>
          <p:cNvCxnSpPr>
            <a:cxnSpLocks/>
          </p:cNvCxnSpPr>
          <p:nvPr/>
        </p:nvCxnSpPr>
        <p:spPr>
          <a:xfrm>
            <a:off x="1054599" y="2583269"/>
            <a:ext cx="6514599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4245F23-E720-764C-A0EA-D386A54624BE}"/>
              </a:ext>
            </a:extLst>
          </p:cNvPr>
          <p:cNvSpPr/>
          <p:nvPr/>
        </p:nvSpPr>
        <p:spPr>
          <a:xfrm>
            <a:off x="0" y="1618069"/>
            <a:ext cx="575732" cy="965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F646EC8-BE49-F24B-9923-E609B647709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9198" y="0"/>
            <a:ext cx="4047069" cy="58928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4520A69-C9FC-5148-B620-9306056DC472}"/>
              </a:ext>
            </a:extLst>
          </p:cNvPr>
          <p:cNvSpPr/>
          <p:nvPr/>
        </p:nvSpPr>
        <p:spPr>
          <a:xfrm>
            <a:off x="11616268" y="1618069"/>
            <a:ext cx="575732" cy="4274731"/>
          </a:xfrm>
          <a:prstGeom prst="rect">
            <a:avLst/>
          </a:prstGeom>
          <a:pattFill prst="ltUpDiag">
            <a:fgClr>
              <a:srgbClr val="1997CD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그림 5" descr="텍스트, 개, 실내, 앉아있는이(가) 표시된 사진&#10;&#10;자동 생성된 설명">
            <a:extLst>
              <a:ext uri="{FF2B5EF4-FFF2-40B4-BE49-F238E27FC236}">
                <a16:creationId xmlns:a16="http://schemas.microsoft.com/office/drawing/2014/main" id="{6D023661-E53F-470F-BF2D-4A42AC165B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32" y="1614037"/>
            <a:ext cx="6993465" cy="3257615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FDD1292E-C4E8-4727-911A-B97A4923545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5732" y="4870232"/>
            <a:ext cx="4033194" cy="1529200"/>
          </a:xfrm>
          <a:prstGeom prst="rect">
            <a:avLst/>
          </a:prstGeom>
        </p:spPr>
      </p:pic>
      <p:pic>
        <p:nvPicPr>
          <p:cNvPr id="20" name="그림 19" descr="텍스트이(가) 표시된 사진&#10;&#10;자동 생성된 설명">
            <a:extLst>
              <a:ext uri="{FF2B5EF4-FFF2-40B4-BE49-F238E27FC236}">
                <a16:creationId xmlns:a16="http://schemas.microsoft.com/office/drawing/2014/main" id="{B8CEB6B0-DFA8-4C36-9BD7-DDD45CE1F38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771" y="4858958"/>
            <a:ext cx="5338440" cy="152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8367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>
            <a:extLst>
              <a:ext uri="{FF2B5EF4-FFF2-40B4-BE49-F238E27FC236}">
                <a16:creationId xmlns:a16="http://schemas.microsoft.com/office/drawing/2014/main" id="{55BA1943-E9EE-4E31-8F6C-A4557C2990BF}"/>
              </a:ext>
            </a:extLst>
          </p:cNvPr>
          <p:cNvSpPr/>
          <p:nvPr/>
        </p:nvSpPr>
        <p:spPr>
          <a:xfrm>
            <a:off x="538899" y="-1"/>
            <a:ext cx="5557099" cy="6367549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FC456F47-EF19-4E4F-9754-5251BBE226F1}"/>
              </a:ext>
            </a:extLst>
          </p:cNvPr>
          <p:cNvSpPr/>
          <p:nvPr/>
        </p:nvSpPr>
        <p:spPr>
          <a:xfrm>
            <a:off x="538899" y="1354971"/>
            <a:ext cx="620685" cy="4480562"/>
          </a:xfrm>
          <a:prstGeom prst="rect">
            <a:avLst/>
          </a:prstGeom>
          <a:pattFill prst="ltUpDiag">
            <a:fgClr>
              <a:srgbClr val="FFC334"/>
            </a:fgClr>
            <a:bgClr>
              <a:srgbClr val="E2AC2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340B735-BF26-49F7-B83A-B76228CE98A9}"/>
              </a:ext>
            </a:extLst>
          </p:cNvPr>
          <p:cNvSpPr/>
          <p:nvPr/>
        </p:nvSpPr>
        <p:spPr>
          <a:xfrm>
            <a:off x="1981200" y="4413933"/>
            <a:ext cx="10210799" cy="15673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F9041-FEF5-4A8A-8CB7-978FDCF9035A}"/>
              </a:ext>
            </a:extLst>
          </p:cNvPr>
          <p:cNvSpPr txBox="1"/>
          <p:nvPr/>
        </p:nvSpPr>
        <p:spPr>
          <a:xfrm>
            <a:off x="2286000" y="4607004"/>
            <a:ext cx="2133918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100" b="1" spc="-300" dirty="0">
                <a:solidFill>
                  <a:schemeClr val="bg1"/>
                </a:solidFill>
                <a:latin typeface="+mn-ea"/>
              </a:rPr>
              <a:t>참고자료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975F9-C18B-4907-99D3-19347FD65A76}"/>
              </a:ext>
            </a:extLst>
          </p:cNvPr>
          <p:cNvSpPr txBox="1"/>
          <p:nvPr/>
        </p:nvSpPr>
        <p:spPr>
          <a:xfrm>
            <a:off x="2302041" y="3591341"/>
            <a:ext cx="23230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6000" b="1" dirty="0">
                <a:solidFill>
                  <a:srgbClr val="017FA4"/>
                </a:solidFill>
              </a:rPr>
              <a:t>Part</a:t>
            </a:r>
            <a:r>
              <a:rPr lang="ko-KR" altLang="en-US" sz="6000" b="1" dirty="0">
                <a:solidFill>
                  <a:srgbClr val="017FA4"/>
                </a:solidFill>
              </a:rPr>
              <a:t> </a:t>
            </a:r>
            <a:r>
              <a:rPr lang="en-US" altLang="ko-KR" sz="6000" b="1" dirty="0">
                <a:solidFill>
                  <a:srgbClr val="017FA4"/>
                </a:solidFill>
              </a:rPr>
              <a:t>4</a:t>
            </a:r>
            <a:endParaRPr lang="ko-KR" altLang="en-US" sz="6000" b="1" dirty="0">
              <a:solidFill>
                <a:srgbClr val="017FA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B65DB3-27B6-4E2B-BF9C-AF338F057DEC}"/>
              </a:ext>
            </a:extLst>
          </p:cNvPr>
          <p:cNvSpPr txBox="1"/>
          <p:nvPr/>
        </p:nvSpPr>
        <p:spPr>
          <a:xfrm>
            <a:off x="10006664" y="6588607"/>
            <a:ext cx="21948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900" dirty="0">
                <a:solidFill>
                  <a:schemeClr val="bg1"/>
                </a:solidFill>
              </a:rPr>
              <a:t>ⓒSaebyeol Yu.</a:t>
            </a:r>
            <a:r>
              <a:rPr lang="ko-KR" altLang="en-US" sz="900" dirty="0">
                <a:solidFill>
                  <a:schemeClr val="bg1"/>
                </a:solidFill>
              </a:rPr>
              <a:t> </a:t>
            </a:r>
            <a:r>
              <a:rPr lang="en-US" altLang="ko-KR" sz="900" dirty="0" err="1">
                <a:solidFill>
                  <a:schemeClr val="bg1"/>
                </a:solidFill>
              </a:rPr>
              <a:t>Saebyeol’s</a:t>
            </a:r>
            <a:r>
              <a:rPr lang="ko-KR" altLang="en-US" sz="900" dirty="0">
                <a:solidFill>
                  <a:schemeClr val="bg1"/>
                </a:solidFill>
              </a:rPr>
              <a:t> </a:t>
            </a:r>
            <a:r>
              <a:rPr lang="en-US" altLang="ko-KR" sz="900" dirty="0">
                <a:solidFill>
                  <a:schemeClr val="bg1"/>
                </a:solidFill>
              </a:rPr>
              <a:t>PowerPoint</a:t>
            </a:r>
            <a:endParaRPr lang="ko-KR" alt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48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43A6186-572A-4653-A8E7-8C82AFC691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500" y="575570"/>
            <a:ext cx="5778500" cy="5514354"/>
          </a:xfrm>
        </p:spPr>
        <p:txBody>
          <a:bodyPr>
            <a:normAutofit fontScale="92500" lnSpcReduction="10000"/>
          </a:bodyPr>
          <a:lstStyle/>
          <a:p>
            <a:pPr marL="0" marR="0" indent="0" algn="ctr" fontAlgn="base" latinLnBrk="1">
              <a:lnSpc>
                <a:spcPct val="160000"/>
              </a:lnSpc>
              <a:spcBef>
                <a:spcPts val="500"/>
              </a:spcBef>
              <a:spcAft>
                <a:spcPts val="0"/>
              </a:spcAft>
              <a:buNone/>
            </a:pPr>
            <a:r>
              <a:rPr lang="en-US" altLang="ko-KR" sz="1900" b="1" kern="0" dirty="0">
                <a:solidFill>
                  <a:srgbClr val="000000"/>
                </a:solidFill>
                <a:latin typeface="+mn-ea"/>
              </a:rPr>
              <a:t>&lt;</a:t>
            </a:r>
            <a:r>
              <a:rPr lang="ko-KR" altLang="en-US" sz="1900" b="1" kern="0" spc="0" dirty="0">
                <a:solidFill>
                  <a:srgbClr val="000000"/>
                </a:solidFill>
                <a:effectLst/>
                <a:latin typeface="+mn-ea"/>
              </a:rPr>
              <a:t>신문</a:t>
            </a:r>
            <a:r>
              <a:rPr lang="en-US" altLang="ko-KR" sz="1900" b="1" kern="0" spc="0" dirty="0">
                <a:solidFill>
                  <a:srgbClr val="000000"/>
                </a:solidFill>
                <a:effectLst/>
                <a:latin typeface="+mn-ea"/>
              </a:rPr>
              <a:t>/</a:t>
            </a:r>
            <a:r>
              <a:rPr lang="ko-KR" altLang="en-US" sz="1900" b="1" kern="0" spc="0" dirty="0">
                <a:solidFill>
                  <a:srgbClr val="000000"/>
                </a:solidFill>
                <a:effectLst/>
                <a:latin typeface="+mn-ea"/>
              </a:rPr>
              <a:t>뉴스</a:t>
            </a:r>
            <a:r>
              <a:rPr lang="en-US" altLang="ko-KR" sz="1900" b="1" kern="0" spc="0" dirty="0">
                <a:solidFill>
                  <a:srgbClr val="000000"/>
                </a:solidFill>
                <a:effectLst/>
                <a:latin typeface="+mn-ea"/>
              </a:rPr>
              <a:t>&gt;</a:t>
            </a:r>
            <a:endParaRPr lang="ko-KR" altLang="en-US" sz="1800" b="1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292100" marR="0" indent="-292100" algn="just" fontAlgn="base" latinLnBrk="1">
              <a:lnSpc>
                <a:spcPct val="160000"/>
              </a:lnSpc>
              <a:spcBef>
                <a:spcPts val="500"/>
              </a:spcBef>
              <a:spcAft>
                <a:spcPts val="0"/>
              </a:spcAft>
            </a:pPr>
            <a:r>
              <a:rPr lang="en-US" altLang="ko-KR" sz="1700" u="sng" kern="0" spc="0" dirty="0">
                <a:solidFill>
                  <a:srgbClr val="800080"/>
                </a:solidFill>
                <a:effectLst/>
                <a:uFill>
                  <a:solidFill>
                    <a:srgbClr val="800080"/>
                  </a:solidFill>
                </a:uFill>
                <a:latin typeface="+mn-ea"/>
                <a:hlinkClick r:id="rId3"/>
              </a:rPr>
              <a:t>https://terms.naver.com/entry.naver?docId=5782732&amp;cid=43667&amp;categoryId=43667</a:t>
            </a: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500"/>
              </a:spcBef>
              <a:spcAft>
                <a:spcPts val="0"/>
              </a:spcAft>
              <a:buNone/>
            </a:pP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: 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반려동물 등록제</a:t>
            </a: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_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제도 변경 내용</a:t>
            </a:r>
            <a:endParaRPr lang="en-US" altLang="ko-KR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500"/>
              </a:spcBef>
              <a:spcAft>
                <a:spcPts val="0"/>
              </a:spcAft>
              <a:buNone/>
            </a:pP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700" u="sng" kern="0" spc="0" dirty="0">
                <a:solidFill>
                  <a:srgbClr val="0000FF"/>
                </a:solidFill>
                <a:effectLst/>
                <a:uFill>
                  <a:solidFill>
                    <a:srgbClr val="800080"/>
                  </a:solidFill>
                </a:uFill>
                <a:latin typeface="+mn-ea"/>
                <a:hlinkClick r:id="rId4"/>
              </a:rPr>
              <a:t>https://blog.naver.com/jsjeong0403/222522785207</a:t>
            </a: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: </a:t>
            </a:r>
            <a:r>
              <a:rPr lang="ko-KR" altLang="en-US" sz="1700" kern="0" dirty="0">
                <a:solidFill>
                  <a:srgbClr val="000000"/>
                </a:solidFill>
                <a:latin typeface="+mn-ea"/>
              </a:rPr>
              <a:t>동물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등록제</a:t>
            </a: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_</a:t>
            </a:r>
            <a:r>
              <a:rPr lang="ko-KR" altLang="en-US" sz="1700" kern="0" spc="0" dirty="0" err="1">
                <a:solidFill>
                  <a:srgbClr val="000000"/>
                </a:solidFill>
                <a:effectLst/>
                <a:latin typeface="+mn-ea"/>
              </a:rPr>
              <a:t>등록률</a:t>
            </a:r>
            <a:endParaRPr lang="en-US" altLang="ko-KR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700" u="sng" kern="0" spc="0" dirty="0"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+mn-ea"/>
                <a:hlinkClick r:id="rId5"/>
              </a:rPr>
              <a:t>http://news.tf.co.kr/read/national/1897674.htm</a:t>
            </a: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: 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반려동물등록</a:t>
            </a: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_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문제배경</a:t>
            </a:r>
            <a:endParaRPr lang="en-US" altLang="ko-KR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330200" marR="0" indent="-3302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700" u="sng" kern="0" spc="0" dirty="0">
                <a:solidFill>
                  <a:srgbClr val="0000FF"/>
                </a:solidFill>
                <a:effectLst/>
                <a:uFill>
                  <a:solidFill>
                    <a:srgbClr val="0000FF"/>
                  </a:solidFill>
                </a:uFill>
                <a:latin typeface="+mn-ea"/>
                <a:hlinkClick r:id="rId6"/>
              </a:rPr>
              <a:t>https://www.korea.kr/news/pressReleaseView.do?newsId=156448339</a:t>
            </a:r>
            <a:endParaRPr lang="ko-KR" altLang="en-US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: 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동물문제의식</a:t>
            </a:r>
            <a:r>
              <a:rPr lang="en-US" altLang="ko-KR" sz="1700" kern="0" spc="0" dirty="0">
                <a:solidFill>
                  <a:srgbClr val="000000"/>
                </a:solidFill>
                <a:effectLst/>
                <a:latin typeface="+mn-ea"/>
              </a:rPr>
              <a:t>_</a:t>
            </a:r>
            <a:r>
              <a:rPr lang="ko-KR" altLang="en-US" sz="1700" kern="0" spc="0" dirty="0">
                <a:solidFill>
                  <a:srgbClr val="000000"/>
                </a:solidFill>
                <a:effectLst/>
                <a:latin typeface="+mn-ea"/>
              </a:rPr>
              <a:t>시사점</a:t>
            </a:r>
            <a:endParaRPr lang="en-US" altLang="ko-KR" sz="1700" kern="0" spc="0" dirty="0">
              <a:solidFill>
                <a:srgbClr val="000000"/>
              </a:solidFill>
              <a:effectLst/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4" name="내용 개체 틀 2">
            <a:extLst>
              <a:ext uri="{FF2B5EF4-FFF2-40B4-BE49-F238E27FC236}">
                <a16:creationId xmlns:a16="http://schemas.microsoft.com/office/drawing/2014/main" id="{419F3F4A-F1F9-4E29-AE29-0BEDFCC4BCA7}"/>
              </a:ext>
            </a:extLst>
          </p:cNvPr>
          <p:cNvSpPr txBox="1">
            <a:spLocks/>
          </p:cNvSpPr>
          <p:nvPr/>
        </p:nvSpPr>
        <p:spPr>
          <a:xfrm>
            <a:off x="6096000" y="575570"/>
            <a:ext cx="5778500" cy="55143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ko-KR" sz="1800" b="1" kern="0" dirty="0">
                <a:solidFill>
                  <a:srgbClr val="000000"/>
                </a:solidFill>
                <a:latin typeface="+mn-ea"/>
              </a:rPr>
              <a:t>&lt;</a:t>
            </a:r>
            <a:r>
              <a:rPr lang="ko-KR" altLang="en-US" sz="1800" b="1" kern="0" dirty="0">
                <a:solidFill>
                  <a:srgbClr val="000000"/>
                </a:solidFill>
                <a:latin typeface="+mn-ea"/>
              </a:rPr>
              <a:t>추가</a:t>
            </a:r>
            <a:r>
              <a:rPr lang="en-US" altLang="ko-KR" sz="1800" b="1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800" b="1" kern="0" dirty="0">
                <a:solidFill>
                  <a:srgbClr val="000000"/>
                </a:solidFill>
                <a:latin typeface="+mn-ea"/>
              </a:rPr>
              <a:t>발표 자료</a:t>
            </a:r>
            <a:r>
              <a:rPr lang="en-US" altLang="ko-KR" sz="1800" b="1" kern="0" dirty="0">
                <a:solidFill>
                  <a:srgbClr val="000000"/>
                </a:solidFill>
                <a:latin typeface="+mn-ea"/>
              </a:rPr>
              <a:t>&gt;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altLang="ko-KR" sz="1600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https://news.kbs.co.kr/news/view.do?ncd=5109388&amp;ref=A</a:t>
            </a:r>
            <a:endParaRPr lang="ko-KR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1600" dirty="0">
                <a:latin typeface="맑은 고딕" panose="020B0503020000020004" pitchFamily="50" charset="-127"/>
                <a:cs typeface="Times New Roman" panose="02020603050405020304" pitchFamily="18" charset="0"/>
                <a:hlinkClick r:id="rId7"/>
              </a:rPr>
              <a:t>http://www.cstimes.com/news/articleView.html?idxno=481256</a:t>
            </a:r>
            <a:endParaRPr lang="en-US" altLang="ko-KR" sz="1600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endParaRPr lang="ko-KR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altLang="ko-KR" sz="1600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https://blog.naver.com/wehappyend/220190650073</a:t>
            </a:r>
            <a:endParaRPr lang="ko-KR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altLang="ko-KR" sz="1600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  <a:hlinkClick r:id="rId8"/>
              </a:rPr>
              <a:t>https://gnews.gg.go.kr/news/news_detail.do?number=202107191110327945C048&amp;s_code=C048</a:t>
            </a:r>
            <a:endParaRPr lang="en-US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indent="0" algn="just" latinLnBrk="1">
              <a:lnSpc>
                <a:spcPct val="107000"/>
              </a:lnSpc>
              <a:spcAft>
                <a:spcPts val="800"/>
              </a:spcAft>
              <a:buNone/>
            </a:pP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  <a:hlinkClick r:id="rId4"/>
              </a:rPr>
              <a:t>https://blog.naver.com/jsjeong0403/222522785207</a:t>
            </a:r>
            <a:endParaRPr lang="en-US" altLang="ko-KR" sz="1800" dirty="0">
              <a:effectLst/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1600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http://www.insnews.co.kr/design_php/news_view.php?num=67313&amp;firstsec=1&amp;secondsec=14</a:t>
            </a:r>
            <a:endParaRPr lang="ko-KR" altLang="ko-KR" sz="1600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sz="1600" b="1" kern="0" dirty="0">
              <a:solidFill>
                <a:srgbClr val="000000"/>
              </a:solidFill>
              <a:latin typeface="+mn-ea"/>
            </a:endParaRPr>
          </a:p>
          <a:p>
            <a:pPr marL="0" indent="0" algn="just" fontAlgn="base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altLang="ko-KR" sz="1600" b="1" kern="0" dirty="0">
              <a:solidFill>
                <a:srgbClr val="000000"/>
              </a:solidFill>
              <a:latin typeface="+mn-ea"/>
            </a:endParaRPr>
          </a:p>
          <a:p>
            <a:pPr marL="0" indent="0" algn="just" fontAlgn="base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ko-KR" altLang="en-US" sz="1600" kern="0" dirty="0">
              <a:solidFill>
                <a:srgbClr val="000000"/>
              </a:solidFill>
              <a:latin typeface="+mn-ea"/>
            </a:endParaRPr>
          </a:p>
          <a:p>
            <a:endParaRPr lang="ko-KR" altLang="en-US" sz="24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2207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99F68E-2E67-40EE-8942-27CDBB69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99F68E-2E67-40EE-8942-27CDBB69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dog sitting in the grass&#10;&#10;Description automatically generated">
            <a:extLst>
              <a:ext uri="{FF2B5EF4-FFF2-40B4-BE49-F238E27FC236}">
                <a16:creationId xmlns:a16="http://schemas.microsoft.com/office/drawing/2014/main" id="{A534C414-7749-4E99-8BFF-42434A980C2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1" y="311727"/>
            <a:ext cx="11284856" cy="6234546"/>
          </a:xfrm>
          <a:custGeom>
            <a:avLst/>
            <a:gdLst>
              <a:gd name="connsiteX0" fmla="*/ 0 w 11596914"/>
              <a:gd name="connsiteY0" fmla="*/ 0 h 6234546"/>
              <a:gd name="connsiteX1" fmla="*/ 11596914 w 11596914"/>
              <a:gd name="connsiteY1" fmla="*/ 0 h 6234546"/>
              <a:gd name="connsiteX2" fmla="*/ 11596914 w 11596914"/>
              <a:gd name="connsiteY2" fmla="*/ 6234546 h 6234546"/>
              <a:gd name="connsiteX3" fmla="*/ 0 w 11596914"/>
              <a:gd name="connsiteY3" fmla="*/ 6234546 h 6234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96914" h="6234546">
                <a:moveTo>
                  <a:pt x="0" y="0"/>
                </a:moveTo>
                <a:lnTo>
                  <a:pt x="11596914" y="0"/>
                </a:lnTo>
                <a:lnTo>
                  <a:pt x="11596914" y="6234546"/>
                </a:lnTo>
                <a:lnTo>
                  <a:pt x="0" y="6234546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27484A6-6CD1-48F2-BDA6-A603A0C30CD0}"/>
              </a:ext>
            </a:extLst>
          </p:cNvPr>
          <p:cNvSpPr/>
          <p:nvPr/>
        </p:nvSpPr>
        <p:spPr>
          <a:xfrm>
            <a:off x="297543" y="1914788"/>
            <a:ext cx="5000171" cy="2908460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0EF4D2-1368-4CE2-89F2-7563A19B8995}"/>
              </a:ext>
            </a:extLst>
          </p:cNvPr>
          <p:cNvSpPr txBox="1">
            <a:spLocks/>
          </p:cNvSpPr>
          <p:nvPr/>
        </p:nvSpPr>
        <p:spPr>
          <a:xfrm>
            <a:off x="928914" y="2286185"/>
            <a:ext cx="4064000" cy="21656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8000" dirty="0"/>
              <a:t>Thank You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6194D0-14B7-444E-9D9B-21A6C62BFE50}"/>
              </a:ext>
            </a:extLst>
          </p:cNvPr>
          <p:cNvSpPr/>
          <p:nvPr/>
        </p:nvSpPr>
        <p:spPr>
          <a:xfrm>
            <a:off x="4794377" y="4319911"/>
            <a:ext cx="1006674" cy="1006674"/>
          </a:xfrm>
          <a:prstGeom prst="rect">
            <a:avLst/>
          </a:prstGeom>
          <a:solidFill>
            <a:srgbClr val="1997C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129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07BCED5D-9668-4D7C-93B0-4E1A6E9457CA}"/>
              </a:ext>
            </a:extLst>
          </p:cNvPr>
          <p:cNvSpPr/>
          <p:nvPr/>
        </p:nvSpPr>
        <p:spPr>
          <a:xfrm>
            <a:off x="538899" y="-1"/>
            <a:ext cx="5557099" cy="6367549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3">
            <a:extLst>
              <a:ext uri="{FF2B5EF4-FFF2-40B4-BE49-F238E27FC236}">
                <a16:creationId xmlns:a16="http://schemas.microsoft.com/office/drawing/2014/main" id="{0901A3EF-FD54-490C-A37C-828FF250CFEF}"/>
              </a:ext>
            </a:extLst>
          </p:cNvPr>
          <p:cNvSpPr/>
          <p:nvPr/>
        </p:nvSpPr>
        <p:spPr>
          <a:xfrm>
            <a:off x="538899" y="1354971"/>
            <a:ext cx="620685" cy="4480562"/>
          </a:xfrm>
          <a:prstGeom prst="rect">
            <a:avLst/>
          </a:prstGeom>
          <a:pattFill prst="ltUpDiag">
            <a:fgClr>
              <a:srgbClr val="FFC334"/>
            </a:fgClr>
            <a:bgClr>
              <a:srgbClr val="E2AC2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340B735-BF26-49F7-B83A-B76228CE98A9}"/>
              </a:ext>
            </a:extLst>
          </p:cNvPr>
          <p:cNvSpPr/>
          <p:nvPr/>
        </p:nvSpPr>
        <p:spPr>
          <a:xfrm>
            <a:off x="1981200" y="4413933"/>
            <a:ext cx="10210799" cy="15673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F9041-FEF5-4A8A-8CB7-978FDCF9035A}"/>
              </a:ext>
            </a:extLst>
          </p:cNvPr>
          <p:cNvSpPr txBox="1"/>
          <p:nvPr/>
        </p:nvSpPr>
        <p:spPr>
          <a:xfrm>
            <a:off x="2286000" y="4607004"/>
            <a:ext cx="2279791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100" b="1" spc="-300" dirty="0">
                <a:solidFill>
                  <a:schemeClr val="bg1"/>
                </a:solidFill>
                <a:latin typeface="+mn-ea"/>
              </a:rPr>
              <a:t>선정 배경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975F9-C18B-4907-99D3-19347FD65A76}"/>
              </a:ext>
            </a:extLst>
          </p:cNvPr>
          <p:cNvSpPr txBox="1"/>
          <p:nvPr/>
        </p:nvSpPr>
        <p:spPr>
          <a:xfrm>
            <a:off x="2302041" y="3591341"/>
            <a:ext cx="23230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6000" b="1" dirty="0">
                <a:solidFill>
                  <a:srgbClr val="017FA4"/>
                </a:solidFill>
              </a:rPr>
              <a:t>Part</a:t>
            </a:r>
            <a:r>
              <a:rPr lang="ko-KR" altLang="en-US" sz="6000" b="1" dirty="0">
                <a:solidFill>
                  <a:srgbClr val="017FA4"/>
                </a:solidFill>
              </a:rPr>
              <a:t> </a:t>
            </a:r>
            <a:r>
              <a:rPr lang="en-US" altLang="ko-KR" sz="6000" b="1" dirty="0">
                <a:solidFill>
                  <a:srgbClr val="017FA4"/>
                </a:solidFill>
              </a:rPr>
              <a:t>1</a:t>
            </a:r>
            <a:endParaRPr lang="ko-KR" altLang="en-US" sz="6000" b="1" dirty="0">
              <a:solidFill>
                <a:srgbClr val="017F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35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5A54C1F7-DB7A-425D-8993-C9836350F13D}"/>
              </a:ext>
            </a:extLst>
          </p:cNvPr>
          <p:cNvSpPr txBox="1"/>
          <p:nvPr/>
        </p:nvSpPr>
        <p:spPr>
          <a:xfrm>
            <a:off x="584200" y="152400"/>
            <a:ext cx="18437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정 배경</a:t>
            </a:r>
          </a:p>
        </p:txBody>
      </p:sp>
      <p:pic>
        <p:nvPicPr>
          <p:cNvPr id="8" name="내용 개체 틀 4" descr="텍스트, 개이(가) 표시된 사진&#10;&#10;자동 생성된 설명">
            <a:extLst>
              <a:ext uri="{FF2B5EF4-FFF2-40B4-BE49-F238E27FC236}">
                <a16:creationId xmlns:a16="http://schemas.microsoft.com/office/drawing/2014/main" id="{DBC3AA37-72B9-4A4A-AFE1-6B52D3BA33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45" y="1209588"/>
            <a:ext cx="6033746" cy="327894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9990D66-D558-4441-A7C6-1435C3FCE1C9}"/>
              </a:ext>
            </a:extLst>
          </p:cNvPr>
          <p:cNvSpPr txBox="1"/>
          <p:nvPr/>
        </p:nvSpPr>
        <p:spPr>
          <a:xfrm>
            <a:off x="6781384" y="2252107"/>
            <a:ext cx="5174428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ko-KR" sz="2700" b="1" dirty="0"/>
          </a:p>
          <a:p>
            <a:pPr algn="ctr"/>
            <a:r>
              <a:rPr lang="en-US" altLang="ko-KR" sz="2700" b="1" dirty="0"/>
              <a:t>“ </a:t>
            </a:r>
            <a:r>
              <a:rPr lang="ko-KR" altLang="en-US" sz="2700" b="1" dirty="0"/>
              <a:t>반려 </a:t>
            </a:r>
            <a:r>
              <a:rPr lang="en-US" altLang="ko-KR" sz="2700" b="1" dirty="0"/>
              <a:t>1500</a:t>
            </a:r>
            <a:r>
              <a:rPr lang="ko-KR" altLang="en-US" sz="2700" b="1" dirty="0"/>
              <a:t>만 시대 </a:t>
            </a:r>
            <a:r>
              <a:rPr lang="en-US" altLang="ko-KR" sz="2700" b="1" dirty="0"/>
              <a:t>”</a:t>
            </a:r>
          </a:p>
          <a:p>
            <a:r>
              <a:rPr lang="ko-KR" altLang="en-US" sz="2700" dirty="0"/>
              <a:t> 반려인구 지속적인 증가 추세</a:t>
            </a:r>
            <a:endParaRPr lang="en-US" altLang="ko-KR" sz="2700" dirty="0"/>
          </a:p>
          <a:p>
            <a:endParaRPr lang="en-US" altLang="ko-KR" sz="2700" b="1" dirty="0"/>
          </a:p>
          <a:p>
            <a:r>
              <a:rPr lang="en-US" altLang="ko-KR" sz="2700" b="1" dirty="0"/>
              <a:t>                        &amp;</a:t>
            </a:r>
          </a:p>
          <a:p>
            <a:endParaRPr lang="en-US" altLang="ko-KR" sz="2700" b="1" dirty="0"/>
          </a:p>
          <a:p>
            <a:pPr algn="ctr"/>
            <a:r>
              <a:rPr lang="en-US" altLang="ko-KR" sz="2700" b="1" dirty="0"/>
              <a:t>“</a:t>
            </a:r>
            <a:r>
              <a:rPr lang="ko-KR" altLang="en-US" sz="2700" b="1" dirty="0"/>
              <a:t> 유기동물 안락사 </a:t>
            </a:r>
            <a:r>
              <a:rPr lang="en-US" altLang="ko-KR" sz="2700" b="1" dirty="0"/>
              <a:t>23%</a:t>
            </a:r>
            <a:r>
              <a:rPr lang="ko-KR" altLang="en-US" sz="2700" b="1" dirty="0"/>
              <a:t> </a:t>
            </a:r>
            <a:r>
              <a:rPr lang="en-US" altLang="ko-KR" sz="2700" b="1" dirty="0"/>
              <a:t>”</a:t>
            </a:r>
          </a:p>
          <a:p>
            <a:pPr marL="285750" indent="-285750">
              <a:buFontTx/>
              <a:buChar char="-"/>
            </a:pPr>
            <a:endParaRPr lang="en-US" altLang="ko-KR" sz="2700" b="1" dirty="0"/>
          </a:p>
          <a:p>
            <a:pPr marL="285750" indent="-285750">
              <a:buFontTx/>
              <a:buChar char="-"/>
            </a:pPr>
            <a:endParaRPr lang="en-US" altLang="ko-KR" sz="2700" b="1" dirty="0"/>
          </a:p>
        </p:txBody>
      </p:sp>
      <p:pic>
        <p:nvPicPr>
          <p:cNvPr id="7" name="그림 6" descr="테이블이(가) 표시된 사진&#10;&#10;자동 생성된 설명">
            <a:extLst>
              <a:ext uri="{FF2B5EF4-FFF2-40B4-BE49-F238E27FC236}">
                <a16:creationId xmlns:a16="http://schemas.microsoft.com/office/drawing/2014/main" id="{495B51D3-D3F2-F44B-9676-2D9785DD1C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78" y="4337341"/>
            <a:ext cx="6216970" cy="1651085"/>
          </a:xfrm>
          <a:prstGeom prst="rect">
            <a:avLst/>
          </a:prstGeom>
        </p:spPr>
      </p:pic>
      <p:sp>
        <p:nvSpPr>
          <p:cNvPr id="3" name="타원 2">
            <a:extLst>
              <a:ext uri="{FF2B5EF4-FFF2-40B4-BE49-F238E27FC236}">
                <a16:creationId xmlns:a16="http://schemas.microsoft.com/office/drawing/2014/main" id="{0911B380-6520-431A-A9FC-6F4B67C353E4}"/>
              </a:ext>
            </a:extLst>
          </p:cNvPr>
          <p:cNvSpPr/>
          <p:nvPr/>
        </p:nvSpPr>
        <p:spPr>
          <a:xfrm>
            <a:off x="4520645" y="4715404"/>
            <a:ext cx="889000" cy="8890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523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5A54C1F7-DB7A-425D-8993-C9836350F13D}"/>
              </a:ext>
            </a:extLst>
          </p:cNvPr>
          <p:cNvSpPr txBox="1"/>
          <p:nvPr/>
        </p:nvSpPr>
        <p:spPr>
          <a:xfrm>
            <a:off x="584200" y="152400"/>
            <a:ext cx="18437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정 배경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027299D-8B1D-4A3E-A6D1-FB75F48584E0}"/>
              </a:ext>
            </a:extLst>
          </p:cNvPr>
          <p:cNvSpPr/>
          <p:nvPr/>
        </p:nvSpPr>
        <p:spPr>
          <a:xfrm>
            <a:off x="5841403" y="6605195"/>
            <a:ext cx="6350598" cy="252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76" name="Picture 4" descr="동물등록제는 동물 보호와 유실, 유기 방지를 위한 것으로, 동물보호법에 따라 주택·준주택 또는 이외의 장소에서 반려의 목적으로 기르는 2개월령 이상의 개는 반드시 지방자치단체에 동물등록을 해야 한다. ">
            <a:extLst>
              <a:ext uri="{FF2B5EF4-FFF2-40B4-BE49-F238E27FC236}">
                <a16:creationId xmlns:a16="http://schemas.microsoft.com/office/drawing/2014/main" id="{3BD6F7EF-47C9-41E7-A6EF-7E819E3C7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625" y="1287127"/>
            <a:ext cx="3851975" cy="4879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4EEE9FDD-6A4A-489B-9262-C3F8E7789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776" y="1287126"/>
            <a:ext cx="3851976" cy="4879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852D4-91E4-4920-A284-0DC6187AFF73}"/>
              </a:ext>
            </a:extLst>
          </p:cNvPr>
          <p:cNvSpPr txBox="1"/>
          <p:nvPr/>
        </p:nvSpPr>
        <p:spPr>
          <a:xfrm>
            <a:off x="1949791" y="5530872"/>
            <a:ext cx="256914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600" b="1" dirty="0">
                <a:latin typeface="+mj-ea"/>
                <a:ea typeface="+mj-ea"/>
              </a:rPr>
              <a:t>2013</a:t>
            </a:r>
            <a:endParaRPr lang="ko-KR" altLang="en-US" sz="6600" b="1" dirty="0">
              <a:latin typeface="+mj-ea"/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BFC7D1-CB6A-4FE3-8876-F8AD5E87675E}"/>
              </a:ext>
            </a:extLst>
          </p:cNvPr>
          <p:cNvSpPr txBox="1"/>
          <p:nvPr/>
        </p:nvSpPr>
        <p:spPr>
          <a:xfrm>
            <a:off x="7668692" y="5438539"/>
            <a:ext cx="25691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200" b="1" dirty="0">
                <a:latin typeface="+mj-ea"/>
                <a:ea typeface="+mj-ea"/>
              </a:rPr>
              <a:t>2020</a:t>
            </a:r>
            <a:endParaRPr lang="ko-KR" altLang="en-US" sz="7200" b="1" dirty="0">
              <a:latin typeface="+mj-ea"/>
              <a:ea typeface="+mj-ea"/>
            </a:endParaRPr>
          </a:p>
        </p:txBody>
      </p:sp>
      <p:sp>
        <p:nvSpPr>
          <p:cNvPr id="5" name="화살표: 오른쪽 4">
            <a:extLst>
              <a:ext uri="{FF2B5EF4-FFF2-40B4-BE49-F238E27FC236}">
                <a16:creationId xmlns:a16="http://schemas.microsoft.com/office/drawing/2014/main" id="{9E80183E-E8B9-4E1D-B4F3-5FBC1A788B06}"/>
              </a:ext>
            </a:extLst>
          </p:cNvPr>
          <p:cNvSpPr/>
          <p:nvPr/>
        </p:nvSpPr>
        <p:spPr>
          <a:xfrm>
            <a:off x="5270337" y="3472954"/>
            <a:ext cx="1230702" cy="609600"/>
          </a:xfrm>
          <a:prstGeom prst="rightArrow">
            <a:avLst/>
          </a:prstGeom>
          <a:solidFill>
            <a:schemeClr val="accent6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1786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5A54C1F7-DB7A-425D-8993-C9836350F13D}"/>
              </a:ext>
            </a:extLst>
          </p:cNvPr>
          <p:cNvSpPr txBox="1"/>
          <p:nvPr/>
        </p:nvSpPr>
        <p:spPr>
          <a:xfrm>
            <a:off x="584200" y="152400"/>
            <a:ext cx="18437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정 배경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027299D-8B1D-4A3E-A6D1-FB75F48584E0}"/>
              </a:ext>
            </a:extLst>
          </p:cNvPr>
          <p:cNvSpPr/>
          <p:nvPr/>
        </p:nvSpPr>
        <p:spPr>
          <a:xfrm>
            <a:off x="5841403" y="6605195"/>
            <a:ext cx="6350598" cy="252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0CFE56-A283-445A-8210-2426E90A3C13}"/>
              </a:ext>
            </a:extLst>
          </p:cNvPr>
          <p:cNvSpPr txBox="1"/>
          <p:nvPr/>
        </p:nvSpPr>
        <p:spPr>
          <a:xfrm>
            <a:off x="6166703" y="2852365"/>
            <a:ext cx="569999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/>
              <a:t>“ </a:t>
            </a:r>
            <a:r>
              <a:rPr lang="ko-KR" altLang="en-US" sz="2800" b="1" dirty="0" err="1"/>
              <a:t>반려견</a:t>
            </a:r>
            <a:r>
              <a:rPr lang="ko-KR" altLang="en-US" sz="2800" b="1" dirty="0"/>
              <a:t> 수 대비</a:t>
            </a:r>
            <a:r>
              <a:rPr lang="en-US" altLang="ko-KR" sz="2800" b="1" dirty="0"/>
              <a:t>,</a:t>
            </a:r>
          </a:p>
          <a:p>
            <a:pPr algn="ctr"/>
            <a:r>
              <a:rPr lang="ko-KR" altLang="en-US" sz="2800" b="1" dirty="0"/>
              <a:t> 동물 등록 수 저조 </a:t>
            </a:r>
            <a:r>
              <a:rPr lang="en-US" altLang="ko-KR" sz="2800" b="1" dirty="0"/>
              <a:t>”</a:t>
            </a:r>
          </a:p>
          <a:p>
            <a:pPr algn="ctr"/>
            <a:endParaRPr lang="en-US" altLang="ko-KR" sz="2000" dirty="0"/>
          </a:p>
          <a:p>
            <a:pPr algn="ctr"/>
            <a:r>
              <a:rPr lang="en-US" altLang="ko-KR" sz="2400" dirty="0"/>
              <a:t>‘ 2020</a:t>
            </a:r>
            <a:r>
              <a:rPr lang="ko-KR" altLang="en-US" sz="2400" dirty="0"/>
              <a:t>년 기준 </a:t>
            </a:r>
            <a:r>
              <a:rPr lang="ko-KR" altLang="en-US" sz="2400" dirty="0" err="1"/>
              <a:t>등록률</a:t>
            </a:r>
            <a:r>
              <a:rPr lang="ko-KR" altLang="en-US" sz="2400" dirty="0"/>
              <a:t> </a:t>
            </a:r>
            <a:r>
              <a:rPr lang="en-US" altLang="ko-KR" sz="2400" u="sng" dirty="0"/>
              <a:t>38.6%</a:t>
            </a:r>
            <a:r>
              <a:rPr lang="ko-KR" altLang="en-US" sz="2400" dirty="0"/>
              <a:t>에 불과</a:t>
            </a:r>
            <a:r>
              <a:rPr lang="en-US" altLang="ko-KR" sz="2400" dirty="0"/>
              <a:t>! ’</a:t>
            </a:r>
          </a:p>
          <a:p>
            <a:pPr algn="ctr"/>
            <a:r>
              <a:rPr lang="en-US" altLang="ko-KR" sz="2000" dirty="0"/>
              <a:t> </a:t>
            </a:r>
            <a:r>
              <a:rPr lang="ko-KR" altLang="en-US" sz="2000" dirty="0"/>
              <a:t>최근 </a:t>
            </a:r>
            <a:r>
              <a:rPr lang="en-US" altLang="ko-KR" sz="2000" dirty="0"/>
              <a:t>4</a:t>
            </a:r>
            <a:r>
              <a:rPr lang="ko-KR" altLang="en-US" sz="2000" dirty="0"/>
              <a:t>년간 과태료 부과 건수 총 </a:t>
            </a:r>
            <a:r>
              <a:rPr lang="en-US" altLang="ko-KR" sz="2000" u="sng" dirty="0"/>
              <a:t>564</a:t>
            </a:r>
            <a:r>
              <a:rPr lang="ko-KR" altLang="en-US" sz="2000" dirty="0"/>
              <a:t>건</a:t>
            </a:r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9BB7956-74FB-8242-BB76-6070AE6217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9282" y="2554898"/>
            <a:ext cx="6110815" cy="32661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307430-28F8-4D1F-A995-59CB446D72C6}"/>
              </a:ext>
            </a:extLst>
          </p:cNvPr>
          <p:cNvSpPr txBox="1"/>
          <p:nvPr/>
        </p:nvSpPr>
        <p:spPr>
          <a:xfrm>
            <a:off x="2725493" y="1837044"/>
            <a:ext cx="23871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u="sng" dirty="0" err="1"/>
              <a:t>동물등록수</a:t>
            </a:r>
            <a:r>
              <a:rPr lang="ko-KR" altLang="en-US" sz="2000" b="1" u="sng" dirty="0"/>
              <a:t> 누계</a:t>
            </a:r>
            <a:endParaRPr lang="en-US" altLang="ko-KR" sz="2000" dirty="0"/>
          </a:p>
          <a:p>
            <a:endParaRPr lang="en-US" altLang="ko-KR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9CC31E-FCE5-4FED-8656-357B6000755D}"/>
              </a:ext>
            </a:extLst>
          </p:cNvPr>
          <p:cNvSpPr txBox="1"/>
          <p:nvPr/>
        </p:nvSpPr>
        <p:spPr>
          <a:xfrm>
            <a:off x="4058614" y="5714687"/>
            <a:ext cx="21080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(</a:t>
            </a:r>
            <a:r>
              <a:rPr lang="ko-KR" altLang="en-US" sz="1400" dirty="0"/>
              <a:t>출처</a:t>
            </a:r>
            <a:r>
              <a:rPr lang="en-US" altLang="ko-KR" sz="1400" dirty="0"/>
              <a:t>: </a:t>
            </a:r>
            <a:r>
              <a:rPr lang="ko-KR" altLang="en-US" sz="1400" dirty="0"/>
              <a:t>농림축산식품부</a:t>
            </a:r>
            <a:r>
              <a:rPr lang="en-US" altLang="ko-KR" sz="1400" dirty="0"/>
              <a:t>)</a:t>
            </a:r>
          </a:p>
          <a:p>
            <a:endParaRPr lang="en-US" altLang="ko-KR" sz="1400" dirty="0"/>
          </a:p>
        </p:txBody>
      </p:sp>
    </p:spTree>
    <p:extLst>
      <p:ext uri="{BB962C8B-B14F-4D97-AF65-F5344CB8AC3E}">
        <p14:creationId xmlns:p14="http://schemas.microsoft.com/office/powerpoint/2010/main" val="16669648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632E33CF-A2E1-4564-BC91-DECCB21D51F3}"/>
              </a:ext>
            </a:extLst>
          </p:cNvPr>
          <p:cNvSpPr/>
          <p:nvPr/>
        </p:nvSpPr>
        <p:spPr>
          <a:xfrm>
            <a:off x="538899" y="-1"/>
            <a:ext cx="5557099" cy="6367549"/>
          </a:xfrm>
          <a:prstGeom prst="rect">
            <a:avLst/>
          </a:prstGeom>
          <a:solidFill>
            <a:srgbClr val="FFC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FE93E1AF-16CC-48FA-9B0B-A49C3E974414}"/>
              </a:ext>
            </a:extLst>
          </p:cNvPr>
          <p:cNvSpPr/>
          <p:nvPr/>
        </p:nvSpPr>
        <p:spPr>
          <a:xfrm>
            <a:off x="538899" y="1354971"/>
            <a:ext cx="620685" cy="4480562"/>
          </a:xfrm>
          <a:prstGeom prst="rect">
            <a:avLst/>
          </a:prstGeom>
          <a:pattFill prst="ltUpDiag">
            <a:fgClr>
              <a:srgbClr val="FFC334"/>
            </a:fgClr>
            <a:bgClr>
              <a:srgbClr val="E2AC2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340B735-BF26-49F7-B83A-B76228CE98A9}"/>
              </a:ext>
            </a:extLst>
          </p:cNvPr>
          <p:cNvSpPr/>
          <p:nvPr/>
        </p:nvSpPr>
        <p:spPr>
          <a:xfrm>
            <a:off x="1981200" y="4413933"/>
            <a:ext cx="10210799" cy="15673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F9041-FEF5-4A8A-8CB7-978FDCF9035A}"/>
              </a:ext>
            </a:extLst>
          </p:cNvPr>
          <p:cNvSpPr txBox="1"/>
          <p:nvPr/>
        </p:nvSpPr>
        <p:spPr>
          <a:xfrm>
            <a:off x="2286000" y="4607004"/>
            <a:ext cx="3887603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100" b="1" spc="-300" dirty="0">
                <a:solidFill>
                  <a:schemeClr val="bg1"/>
                </a:solidFill>
                <a:latin typeface="+mn-ea"/>
              </a:rPr>
              <a:t>데이터 분석 내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975F9-C18B-4907-99D3-19347FD65A76}"/>
              </a:ext>
            </a:extLst>
          </p:cNvPr>
          <p:cNvSpPr txBox="1"/>
          <p:nvPr/>
        </p:nvSpPr>
        <p:spPr>
          <a:xfrm>
            <a:off x="2302041" y="3591341"/>
            <a:ext cx="23230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6000" b="1" dirty="0">
                <a:solidFill>
                  <a:srgbClr val="017FA4"/>
                </a:solidFill>
              </a:rPr>
              <a:t>Part</a:t>
            </a:r>
            <a:r>
              <a:rPr lang="ko-KR" altLang="en-US" sz="6000" b="1" dirty="0">
                <a:solidFill>
                  <a:srgbClr val="017FA4"/>
                </a:solidFill>
              </a:rPr>
              <a:t> </a:t>
            </a:r>
            <a:r>
              <a:rPr lang="en-US" altLang="ko-KR" sz="6000" b="1" dirty="0">
                <a:solidFill>
                  <a:srgbClr val="017FA4"/>
                </a:solidFill>
              </a:rPr>
              <a:t>2</a:t>
            </a:r>
            <a:endParaRPr lang="ko-KR" altLang="en-US" sz="6000" b="1" dirty="0">
              <a:solidFill>
                <a:srgbClr val="017F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243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4372FA-4AFD-4BC9-9E12-461A5E2537A4}"/>
              </a:ext>
            </a:extLst>
          </p:cNvPr>
          <p:cNvSpPr txBox="1"/>
          <p:nvPr/>
        </p:nvSpPr>
        <p:spPr>
          <a:xfrm>
            <a:off x="529640" y="105868"/>
            <a:ext cx="31117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b="1" spc="-1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분석 내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9CB09C-53A0-0F40-A12D-EF872BF59204}"/>
              </a:ext>
            </a:extLst>
          </p:cNvPr>
          <p:cNvSpPr txBox="1"/>
          <p:nvPr/>
        </p:nvSpPr>
        <p:spPr>
          <a:xfrm>
            <a:off x="782360" y="1770678"/>
            <a:ext cx="986443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/>
              <a:t> ◦ 전국 단위 평균 소득</a:t>
            </a:r>
            <a:endParaRPr lang="ko-KR" altLang="en-US" sz="1600" dirty="0"/>
          </a:p>
          <a:p>
            <a:r>
              <a:rPr lang="ko-KR" altLang="en-US" sz="1600" dirty="0"/>
              <a:t>  </a:t>
            </a:r>
            <a:r>
              <a:rPr lang="en-US" altLang="ko-KR" sz="1600" dirty="0"/>
              <a:t>- </a:t>
            </a:r>
            <a:r>
              <a:rPr lang="en" altLang="ko-Kore-KR" sz="1600" u="sng" dirty="0">
                <a:hlinkClick r:id="rId3"/>
              </a:rPr>
              <a:t>https://www.bigdata-map.kr/search/1194716</a:t>
            </a:r>
            <a:endParaRPr lang="en" altLang="ko-Kore-KR" sz="1600" dirty="0"/>
          </a:p>
          <a:p>
            <a:r>
              <a:rPr lang="en" altLang="ko-Kore-KR" sz="1600" dirty="0"/>
              <a:t>  - </a:t>
            </a:r>
            <a:r>
              <a:rPr lang="ko-KR" altLang="en-US" sz="1600" dirty="0"/>
              <a:t>통합 데이터 지도</a:t>
            </a:r>
            <a:r>
              <a:rPr lang="en-US" altLang="ko-KR" sz="1600" dirty="0"/>
              <a:t>: </a:t>
            </a:r>
            <a:r>
              <a:rPr lang="en" altLang="ko-Kore-KR" sz="1600" dirty="0"/>
              <a:t>envbigdata </a:t>
            </a:r>
          </a:p>
          <a:p>
            <a:endParaRPr lang="en" altLang="ko-Kore-KR" sz="1600" dirty="0"/>
          </a:p>
          <a:p>
            <a:endParaRPr kumimoji="1" lang="en" altLang="ko-Kore-KR" sz="1600" dirty="0"/>
          </a:p>
          <a:p>
            <a:endParaRPr kumimoji="1" lang="en" altLang="ko-Kore-KR" sz="1600" dirty="0"/>
          </a:p>
          <a:p>
            <a:r>
              <a:rPr lang="ko-KR" altLang="en-US" sz="1600" b="1" dirty="0"/>
              <a:t> ◦ 서울시 반려동물 유무 및 취득 경로 통계</a:t>
            </a:r>
            <a:endParaRPr lang="ko-KR" altLang="en-US" sz="1600" dirty="0"/>
          </a:p>
          <a:p>
            <a:r>
              <a:rPr lang="ko-KR" altLang="en-US" sz="1600" dirty="0"/>
              <a:t>   </a:t>
            </a:r>
            <a:r>
              <a:rPr lang="en-US" altLang="ko-KR" sz="1600" dirty="0"/>
              <a:t>- </a:t>
            </a:r>
            <a:r>
              <a:rPr lang="en" altLang="ko-Kore-KR" sz="1600" u="sng" dirty="0">
                <a:hlinkClick r:id="rId4"/>
              </a:rPr>
              <a:t>https://data.seoul.go.kr/dataList/10970/S/2/datasetView.do</a:t>
            </a:r>
            <a:endParaRPr lang="en" altLang="ko-Kore-KR" sz="1600" dirty="0"/>
          </a:p>
          <a:p>
            <a:r>
              <a:rPr lang="en" altLang="ko-Kore-KR" sz="1600" dirty="0"/>
              <a:t>   - </a:t>
            </a:r>
            <a:r>
              <a:rPr lang="ko-KR" altLang="en-US" sz="1600" dirty="0" err="1"/>
              <a:t>공공데이터</a:t>
            </a:r>
            <a:r>
              <a:rPr lang="ko-KR" altLang="en-US" sz="1600" dirty="0"/>
              <a:t> 포털</a:t>
            </a:r>
            <a:r>
              <a:rPr lang="en-US" altLang="ko-KR" sz="1600" dirty="0"/>
              <a:t>: </a:t>
            </a:r>
            <a:r>
              <a:rPr lang="ko-KR" altLang="en-US" sz="1600" dirty="0"/>
              <a:t>서울 </a:t>
            </a:r>
            <a:r>
              <a:rPr lang="ko-KR" altLang="en-US" sz="1600" dirty="0" err="1"/>
              <a:t>열린데이터</a:t>
            </a:r>
            <a:r>
              <a:rPr lang="ko-KR" altLang="en-US" sz="1600" dirty="0"/>
              <a:t> 광장 </a:t>
            </a:r>
            <a:endParaRPr lang="en-US" altLang="ko-KR" sz="1600" dirty="0"/>
          </a:p>
          <a:p>
            <a:endParaRPr kumimoji="1" lang="en-US" altLang="ko-Kore-KR" sz="1600" dirty="0"/>
          </a:p>
          <a:p>
            <a:r>
              <a:rPr lang="ko-KR" altLang="en-US" sz="1600" b="1" dirty="0"/>
              <a:t> ◦ 서울시 유기동물보호 현황 통계</a:t>
            </a:r>
            <a:endParaRPr lang="ko-KR" altLang="en-US" sz="1600" dirty="0"/>
          </a:p>
          <a:p>
            <a:r>
              <a:rPr lang="ko-KR" altLang="en-US" sz="1600" dirty="0"/>
              <a:t>   </a:t>
            </a:r>
            <a:r>
              <a:rPr lang="en-US" altLang="ko-KR" sz="1600" dirty="0"/>
              <a:t>- </a:t>
            </a:r>
            <a:r>
              <a:rPr lang="en" altLang="ko-Kore-KR" sz="1600" u="sng" dirty="0">
                <a:hlinkClick r:id="rId5"/>
              </a:rPr>
              <a:t>https://data.seoul.go.kr/dataList/369/S/2/datasetView.do</a:t>
            </a:r>
            <a:endParaRPr lang="en" altLang="ko-Kore-KR" sz="1600" dirty="0"/>
          </a:p>
          <a:p>
            <a:r>
              <a:rPr lang="en" altLang="ko-Kore-KR" sz="1600" dirty="0"/>
              <a:t>   - </a:t>
            </a:r>
            <a:r>
              <a:rPr lang="ko-KR" altLang="en-US" sz="1600" dirty="0" err="1"/>
              <a:t>공공데이터</a:t>
            </a:r>
            <a:r>
              <a:rPr lang="ko-KR" altLang="en-US" sz="1600" dirty="0"/>
              <a:t> 포털</a:t>
            </a:r>
            <a:r>
              <a:rPr lang="en-US" altLang="ko-KR" sz="1600" dirty="0"/>
              <a:t>: </a:t>
            </a:r>
            <a:r>
              <a:rPr lang="ko-KR" altLang="en-US" sz="1600" dirty="0"/>
              <a:t>서울 </a:t>
            </a:r>
            <a:r>
              <a:rPr lang="ko-KR" altLang="en-US" sz="1600" dirty="0" err="1"/>
              <a:t>열린데이터</a:t>
            </a:r>
            <a:r>
              <a:rPr lang="ko-KR" altLang="en-US" sz="1600" dirty="0"/>
              <a:t> 광장 </a:t>
            </a:r>
            <a:endParaRPr lang="en-US" altLang="ko-KR" sz="1600" dirty="0"/>
          </a:p>
          <a:p>
            <a:endParaRPr kumimoji="1" lang="en-US" altLang="ko-Kore-KR" sz="1600" dirty="0"/>
          </a:p>
          <a:p>
            <a:endParaRPr kumimoji="1" lang="en-US" altLang="ko-Kore-KR" sz="1600" dirty="0"/>
          </a:p>
          <a:p>
            <a:endParaRPr kumimoji="1" lang="en-US" altLang="ko-Kore-KR" sz="1600" dirty="0"/>
          </a:p>
          <a:p>
            <a:r>
              <a:rPr lang="ko-KR" altLang="en-US" sz="1600" b="1" dirty="0"/>
              <a:t> ◦ 서울시 주민등록인구 </a:t>
            </a:r>
            <a:r>
              <a:rPr lang="en-US" altLang="ko-KR" sz="1600" b="1" dirty="0"/>
              <a:t>(</a:t>
            </a:r>
            <a:r>
              <a:rPr lang="ko-KR" altLang="en-US" sz="1600" b="1" dirty="0"/>
              <a:t>구별</a:t>
            </a:r>
            <a:r>
              <a:rPr lang="en-US" altLang="ko-KR" sz="1600" b="1" dirty="0"/>
              <a:t>) </a:t>
            </a:r>
            <a:r>
              <a:rPr lang="ko-KR" altLang="en-US" sz="1600" b="1" dirty="0"/>
              <a:t>통계</a:t>
            </a:r>
            <a:endParaRPr lang="ko-KR" altLang="en-US" sz="1600" dirty="0"/>
          </a:p>
          <a:p>
            <a:r>
              <a:rPr lang="ko-KR" altLang="en-US" sz="1600" dirty="0"/>
              <a:t>   </a:t>
            </a:r>
            <a:r>
              <a:rPr lang="en-US" altLang="ko-KR" sz="1600" dirty="0"/>
              <a:t>- </a:t>
            </a:r>
            <a:r>
              <a:rPr lang="en" altLang="ko-Kore-KR" sz="1600" u="sng" dirty="0">
                <a:hlinkClick r:id="rId6"/>
              </a:rPr>
              <a:t>https://data.seoul.go.kr/dataList/419/S/2/datasetView.do</a:t>
            </a:r>
            <a:endParaRPr lang="en" altLang="ko-Kore-KR" sz="1600" dirty="0"/>
          </a:p>
          <a:p>
            <a:r>
              <a:rPr lang="en" altLang="ko-Kore-KR" sz="1600" dirty="0"/>
              <a:t>   - </a:t>
            </a:r>
            <a:r>
              <a:rPr lang="ko-KR" altLang="en-US" sz="1600" dirty="0" err="1"/>
              <a:t>공공데이터</a:t>
            </a:r>
            <a:r>
              <a:rPr lang="ko-KR" altLang="en-US" sz="1600" dirty="0"/>
              <a:t> 포털</a:t>
            </a:r>
            <a:r>
              <a:rPr lang="en-US" altLang="ko-KR" sz="1600" dirty="0"/>
              <a:t>: </a:t>
            </a:r>
            <a:r>
              <a:rPr lang="ko-KR" altLang="en-US" sz="1600" dirty="0"/>
              <a:t>서울 </a:t>
            </a:r>
            <a:r>
              <a:rPr lang="ko-KR" altLang="en-US" sz="1600" dirty="0" err="1"/>
              <a:t>열린데이터</a:t>
            </a:r>
            <a:r>
              <a:rPr lang="ko-KR" altLang="en-US" sz="1600" dirty="0"/>
              <a:t> 광장 </a:t>
            </a:r>
            <a:endParaRPr kumimoji="1" lang="ko-Kore-KR" altLang="en-US" sz="1600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C95E6B7-EF05-9749-B9B2-460ADC787B1C}"/>
              </a:ext>
            </a:extLst>
          </p:cNvPr>
          <p:cNvSpPr/>
          <p:nvPr/>
        </p:nvSpPr>
        <p:spPr>
          <a:xfrm>
            <a:off x="0" y="915301"/>
            <a:ext cx="12192000" cy="584775"/>
          </a:xfrm>
          <a:prstGeom prst="rect">
            <a:avLst/>
          </a:prstGeom>
          <a:gradFill flip="none" rotWithShape="1">
            <a:gsLst>
              <a:gs pos="43000">
                <a:srgbClr val="017FA4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b="1" dirty="0"/>
              <a:t> 활용 데이터</a:t>
            </a:r>
          </a:p>
        </p:txBody>
      </p:sp>
      <p:sp>
        <p:nvSpPr>
          <p:cNvPr id="7" name="오른쪽 대괄호 6">
            <a:extLst>
              <a:ext uri="{FF2B5EF4-FFF2-40B4-BE49-F238E27FC236}">
                <a16:creationId xmlns:a16="http://schemas.microsoft.com/office/drawing/2014/main" id="{5732B125-1C6E-4092-B976-45CD4B3D41E0}"/>
              </a:ext>
            </a:extLst>
          </p:cNvPr>
          <p:cNvSpPr/>
          <p:nvPr/>
        </p:nvSpPr>
        <p:spPr>
          <a:xfrm>
            <a:off x="6426200" y="3365500"/>
            <a:ext cx="395251" cy="1320760"/>
          </a:xfrm>
          <a:prstGeom prst="rightBracket">
            <a:avLst/>
          </a:prstGeom>
          <a:ln w="28575">
            <a:solidFill>
              <a:srgbClr val="017F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오른쪽 대괄호 7">
            <a:extLst>
              <a:ext uri="{FF2B5EF4-FFF2-40B4-BE49-F238E27FC236}">
                <a16:creationId xmlns:a16="http://schemas.microsoft.com/office/drawing/2014/main" id="{4846192D-368D-4923-9E9D-228F3530385E}"/>
              </a:ext>
            </a:extLst>
          </p:cNvPr>
          <p:cNvSpPr/>
          <p:nvPr/>
        </p:nvSpPr>
        <p:spPr>
          <a:xfrm flipH="1">
            <a:off x="7720573" y="3365500"/>
            <a:ext cx="395251" cy="1320760"/>
          </a:xfrm>
          <a:prstGeom prst="rightBracket">
            <a:avLst/>
          </a:prstGeom>
          <a:ln w="28575">
            <a:solidFill>
              <a:srgbClr val="017F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화살표: 오른쪽 8">
            <a:extLst>
              <a:ext uri="{FF2B5EF4-FFF2-40B4-BE49-F238E27FC236}">
                <a16:creationId xmlns:a16="http://schemas.microsoft.com/office/drawing/2014/main" id="{0DE099A7-4EB4-48E1-9D7F-39DC5E49BDEE}"/>
              </a:ext>
            </a:extLst>
          </p:cNvPr>
          <p:cNvSpPr/>
          <p:nvPr/>
        </p:nvSpPr>
        <p:spPr>
          <a:xfrm>
            <a:off x="6821450" y="3747884"/>
            <a:ext cx="870005" cy="494583"/>
          </a:xfrm>
          <a:prstGeom prst="rightArrow">
            <a:avLst/>
          </a:prstGeom>
          <a:gradFill>
            <a:gsLst>
              <a:gs pos="46000">
                <a:srgbClr val="017FA4">
                  <a:alpha val="91000"/>
                </a:srgb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9E3E32-8261-4FB0-A1A9-BC79970CA3C6}"/>
              </a:ext>
            </a:extLst>
          </p:cNvPr>
          <p:cNvSpPr txBox="1"/>
          <p:nvPr/>
        </p:nvSpPr>
        <p:spPr>
          <a:xfrm>
            <a:off x="8115824" y="2911540"/>
            <a:ext cx="27350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ko-KR" b="1" u="sng" dirty="0">
              <a:solidFill>
                <a:srgbClr val="017FA4"/>
              </a:solidFill>
            </a:endParaRPr>
          </a:p>
          <a:p>
            <a:r>
              <a:rPr kumimoji="1" lang="ko-KR" altLang="en-US" b="1" u="sng" dirty="0">
                <a:solidFill>
                  <a:srgbClr val="017FA4"/>
                </a:solidFill>
              </a:rPr>
              <a:t>서울시 자치구별</a:t>
            </a:r>
            <a:endParaRPr kumimoji="1" lang="en-US" altLang="ko-KR" b="1" u="sng" dirty="0">
              <a:solidFill>
                <a:srgbClr val="017FA4"/>
              </a:solidFill>
            </a:endParaRPr>
          </a:p>
          <a:p>
            <a:r>
              <a:rPr kumimoji="1" lang="en-US" altLang="ko-KR" b="1" u="sng" dirty="0">
                <a:solidFill>
                  <a:srgbClr val="017FA4"/>
                </a:solidFill>
              </a:rPr>
              <a:t>(</a:t>
            </a:r>
            <a:r>
              <a:rPr kumimoji="1" lang="ko-KR" altLang="en-US" b="1" u="sng" dirty="0">
                <a:solidFill>
                  <a:srgbClr val="017FA4"/>
                </a:solidFill>
              </a:rPr>
              <a:t>지역</a:t>
            </a:r>
            <a:r>
              <a:rPr kumimoji="1" lang="en-US" altLang="ko-KR" b="1" u="sng" dirty="0">
                <a:solidFill>
                  <a:srgbClr val="017FA4"/>
                </a:solidFill>
              </a:rPr>
              <a:t>)</a:t>
            </a:r>
          </a:p>
          <a:p>
            <a:endParaRPr kumimoji="1" lang="en-US" altLang="ko-KR" b="1" u="sng" dirty="0">
              <a:solidFill>
                <a:srgbClr val="017FA4"/>
              </a:solidFill>
            </a:endParaRPr>
          </a:p>
          <a:p>
            <a:endParaRPr kumimoji="1" lang="en-US" altLang="ko-KR" b="1" u="sng" dirty="0">
              <a:solidFill>
                <a:srgbClr val="017FA4"/>
              </a:solidFill>
            </a:endParaRPr>
          </a:p>
          <a:p>
            <a:r>
              <a:rPr kumimoji="1" lang="ko-KR" altLang="en-US" b="1" u="sng" dirty="0">
                <a:solidFill>
                  <a:srgbClr val="017FA4"/>
                </a:solidFill>
              </a:rPr>
              <a:t>기간별</a:t>
            </a:r>
            <a:endParaRPr kumimoji="1" lang="en-US" altLang="ko-KR" b="1" u="sng" dirty="0">
              <a:solidFill>
                <a:srgbClr val="017FA4"/>
              </a:solidFill>
            </a:endParaRPr>
          </a:p>
          <a:p>
            <a:r>
              <a:rPr kumimoji="1" lang="en-US" altLang="ko-KR" b="1" u="sng" dirty="0">
                <a:solidFill>
                  <a:srgbClr val="017FA4"/>
                </a:solidFill>
              </a:rPr>
              <a:t>(2014</a:t>
            </a:r>
            <a:r>
              <a:rPr kumimoji="1" lang="ko-KR" altLang="en-US" b="1" u="sng" dirty="0">
                <a:solidFill>
                  <a:srgbClr val="017FA4"/>
                </a:solidFill>
              </a:rPr>
              <a:t>년도</a:t>
            </a:r>
            <a:r>
              <a:rPr kumimoji="1" lang="en-US" altLang="ko-KR" b="1" u="sng" dirty="0">
                <a:solidFill>
                  <a:srgbClr val="017FA4"/>
                </a:solidFill>
              </a:rPr>
              <a:t>-2020</a:t>
            </a:r>
            <a:r>
              <a:rPr kumimoji="1" lang="ko-KR" altLang="en-US" b="1" u="sng" dirty="0">
                <a:solidFill>
                  <a:srgbClr val="017FA4"/>
                </a:solidFill>
              </a:rPr>
              <a:t>년도</a:t>
            </a:r>
            <a:r>
              <a:rPr kumimoji="1" lang="en-US" altLang="ko-KR" b="1" u="sng" dirty="0">
                <a:solidFill>
                  <a:srgbClr val="017FA4"/>
                </a:solidFill>
              </a:rPr>
              <a:t>)</a:t>
            </a:r>
          </a:p>
        </p:txBody>
      </p:sp>
      <p:sp>
        <p:nvSpPr>
          <p:cNvPr id="14" name="화살표: 갈매기형 수장 13">
            <a:extLst>
              <a:ext uri="{FF2B5EF4-FFF2-40B4-BE49-F238E27FC236}">
                <a16:creationId xmlns:a16="http://schemas.microsoft.com/office/drawing/2014/main" id="{F823D38B-9169-43E2-B34A-CD1BD18013AB}"/>
              </a:ext>
            </a:extLst>
          </p:cNvPr>
          <p:cNvSpPr/>
          <p:nvPr/>
        </p:nvSpPr>
        <p:spPr>
          <a:xfrm>
            <a:off x="6692900" y="1801427"/>
            <a:ext cx="519942" cy="635253"/>
          </a:xfrm>
          <a:prstGeom prst="chevron">
            <a:avLst/>
          </a:prstGeom>
          <a:gradFill>
            <a:gsLst>
              <a:gs pos="41000">
                <a:srgbClr val="017FA4">
                  <a:alpha val="86000"/>
                </a:srgb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6" name="화살표: 갈매기형 수장 15">
            <a:extLst>
              <a:ext uri="{FF2B5EF4-FFF2-40B4-BE49-F238E27FC236}">
                <a16:creationId xmlns:a16="http://schemas.microsoft.com/office/drawing/2014/main" id="{BA724C0C-609D-4A9E-A6D2-8704BD112F7E}"/>
              </a:ext>
            </a:extLst>
          </p:cNvPr>
          <p:cNvSpPr/>
          <p:nvPr/>
        </p:nvSpPr>
        <p:spPr>
          <a:xfrm>
            <a:off x="6714974" y="5677746"/>
            <a:ext cx="519942" cy="635253"/>
          </a:xfrm>
          <a:prstGeom prst="chevron">
            <a:avLst/>
          </a:prstGeom>
          <a:gradFill>
            <a:gsLst>
              <a:gs pos="41000">
                <a:srgbClr val="017FA4">
                  <a:alpha val="86000"/>
                </a:srgb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7114BF-81CD-4F85-80B4-C9A07AA922FB}"/>
              </a:ext>
            </a:extLst>
          </p:cNvPr>
          <p:cNvSpPr txBox="1"/>
          <p:nvPr/>
        </p:nvSpPr>
        <p:spPr>
          <a:xfrm>
            <a:off x="7178826" y="1939507"/>
            <a:ext cx="2571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>
                <a:latin typeface="+mn-ea"/>
              </a:rPr>
              <a:t>그래프</a:t>
            </a:r>
            <a:r>
              <a:rPr kumimoji="1" lang="en-US" altLang="ko-KR" dirty="0">
                <a:latin typeface="+mn-ea"/>
              </a:rPr>
              <a:t> </a:t>
            </a:r>
            <a:r>
              <a:rPr kumimoji="1" lang="ko-KR" altLang="en-US" dirty="0">
                <a:latin typeface="+mn-ea"/>
              </a:rPr>
              <a:t>결과</a:t>
            </a:r>
            <a:r>
              <a:rPr kumimoji="1" lang="en-US" altLang="ko-KR" dirty="0">
                <a:latin typeface="+mn-ea"/>
              </a:rPr>
              <a:t>,</a:t>
            </a:r>
            <a:r>
              <a:rPr kumimoji="1" lang="ko-KR" altLang="en-US" dirty="0">
                <a:latin typeface="+mn-ea"/>
              </a:rPr>
              <a:t> 원인 추론</a:t>
            </a:r>
            <a:endParaRPr kumimoji="1" lang="en-US" altLang="ko-KR" dirty="0">
              <a:latin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3E9E66-1538-452A-981D-6D42A61D35F9}"/>
              </a:ext>
            </a:extLst>
          </p:cNvPr>
          <p:cNvSpPr txBox="1"/>
          <p:nvPr/>
        </p:nvSpPr>
        <p:spPr>
          <a:xfrm>
            <a:off x="7242326" y="5664436"/>
            <a:ext cx="25711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/>
              <a:t>서울 지역구별 </a:t>
            </a:r>
            <a:endParaRPr kumimoji="1" lang="en-US" altLang="ko-KR" dirty="0"/>
          </a:p>
          <a:p>
            <a:r>
              <a:rPr kumimoji="1" lang="ko-KR" altLang="en-US" dirty="0"/>
              <a:t>반려동물 수</a:t>
            </a:r>
            <a:r>
              <a:rPr kumimoji="1" lang="en-US" altLang="ko-KR" dirty="0"/>
              <a:t>,</a:t>
            </a:r>
            <a:r>
              <a:rPr kumimoji="1" lang="ko-KR" altLang="en-US" dirty="0"/>
              <a:t> 계산 활용</a:t>
            </a:r>
            <a:endParaRPr kumimoji="1"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88731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F2328377-9B82-4F79-A160-9AA0E3EC7E25}"/>
              </a:ext>
            </a:extLst>
          </p:cNvPr>
          <p:cNvSpPr txBox="1"/>
          <p:nvPr/>
        </p:nvSpPr>
        <p:spPr>
          <a:xfrm>
            <a:off x="4128368" y="4522156"/>
            <a:ext cx="4937937" cy="13632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4400" kern="1200" spc="-3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ATA </a:t>
            </a:r>
            <a:r>
              <a:rPr lang="ko-KR" altLang="en-US" sz="4400" kern="1200" spc="-3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분석 </a:t>
            </a:r>
            <a:r>
              <a:rPr lang="en-US" altLang="ko-KR" sz="4400" kern="1200" spc="-3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OOLS</a:t>
            </a:r>
          </a:p>
        </p:txBody>
      </p:sp>
      <p:sp>
        <p:nvSpPr>
          <p:cNvPr id="136" name="Freeform: Shape 135">
            <a:extLst>
              <a:ext uri="{FF2B5EF4-FFF2-40B4-BE49-F238E27FC236}">
                <a16:creationId xmlns:a16="http://schemas.microsoft.com/office/drawing/2014/main" id="{2E2D6188-24E5-426A-BB2A-3FA2D6B9C3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88331"/>
            <a:ext cx="3564638" cy="4569668"/>
          </a:xfrm>
          <a:custGeom>
            <a:avLst/>
            <a:gdLst>
              <a:gd name="connsiteX0" fmla="*/ 640080 w 3564638"/>
              <a:gd name="connsiteY0" fmla="*/ 0 h 4569668"/>
              <a:gd name="connsiteX1" fmla="*/ 3564638 w 3564638"/>
              <a:gd name="connsiteY1" fmla="*/ 2924558 h 4569668"/>
              <a:gd name="connsiteX2" fmla="*/ 3065170 w 3564638"/>
              <a:gd name="connsiteY2" fmla="*/ 4559707 h 4569668"/>
              <a:gd name="connsiteX3" fmla="*/ 3057720 w 3564638"/>
              <a:gd name="connsiteY3" fmla="*/ 4569668 h 4569668"/>
              <a:gd name="connsiteX4" fmla="*/ 0 w 3564638"/>
              <a:gd name="connsiteY4" fmla="*/ 4569668 h 4569668"/>
              <a:gd name="connsiteX5" fmla="*/ 0 w 3564638"/>
              <a:gd name="connsiteY5" fmla="*/ 72448 h 4569668"/>
              <a:gd name="connsiteX6" fmla="*/ 50679 w 3564638"/>
              <a:gd name="connsiteY6" fmla="*/ 59417 h 4569668"/>
              <a:gd name="connsiteX7" fmla="*/ 640080 w 3564638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638" h="4569668">
                <a:moveTo>
                  <a:pt x="640080" y="0"/>
                </a:moveTo>
                <a:cubicBezTo>
                  <a:pt x="2255269" y="0"/>
                  <a:pt x="3564638" y="1309369"/>
                  <a:pt x="3564638" y="2924558"/>
                </a:cubicBezTo>
                <a:cubicBezTo>
                  <a:pt x="3564638" y="3530254"/>
                  <a:pt x="3380508" y="4092944"/>
                  <a:pt x="3065170" y="4559707"/>
                </a:cubicBezTo>
                <a:lnTo>
                  <a:pt x="3057720" y="4569668"/>
                </a:lnTo>
                <a:lnTo>
                  <a:pt x="0" y="4569668"/>
                </a:lnTo>
                <a:lnTo>
                  <a:pt x="0" y="72448"/>
                </a:lnTo>
                <a:lnTo>
                  <a:pt x="50679" y="59417"/>
                </a:lnTo>
                <a:cubicBezTo>
                  <a:pt x="241061" y="20459"/>
                  <a:pt x="438181" y="0"/>
                  <a:pt x="64008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F6E384F5-137A-40B1-97F0-694CC6ECD5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122218"/>
            <a:ext cx="3730752" cy="4735782"/>
          </a:xfrm>
          <a:custGeom>
            <a:avLst/>
            <a:gdLst>
              <a:gd name="connsiteX0" fmla="*/ 640080 w 3730752"/>
              <a:gd name="connsiteY0" fmla="*/ 0 h 4735782"/>
              <a:gd name="connsiteX1" fmla="*/ 3730752 w 3730752"/>
              <a:gd name="connsiteY1" fmla="*/ 3090672 h 4735782"/>
              <a:gd name="connsiteX2" fmla="*/ 3357725 w 3730752"/>
              <a:gd name="connsiteY2" fmla="*/ 4563870 h 4735782"/>
              <a:gd name="connsiteX3" fmla="*/ 3253285 w 3730752"/>
              <a:gd name="connsiteY3" fmla="*/ 4735782 h 4735782"/>
              <a:gd name="connsiteX4" fmla="*/ 0 w 3730752"/>
              <a:gd name="connsiteY4" fmla="*/ 4735782 h 4735782"/>
              <a:gd name="connsiteX5" fmla="*/ 0 w 3730752"/>
              <a:gd name="connsiteY5" fmla="*/ 67215 h 4735782"/>
              <a:gd name="connsiteX6" fmla="*/ 17202 w 3730752"/>
              <a:gd name="connsiteY6" fmla="*/ 62792 h 4735782"/>
              <a:gd name="connsiteX7" fmla="*/ 640080 w 3730752"/>
              <a:gd name="connsiteY7" fmla="*/ 0 h 473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30752" h="4735782">
                <a:moveTo>
                  <a:pt x="640080" y="0"/>
                </a:moveTo>
                <a:cubicBezTo>
                  <a:pt x="2347011" y="0"/>
                  <a:pt x="3730752" y="1383741"/>
                  <a:pt x="3730752" y="3090672"/>
                </a:cubicBezTo>
                <a:cubicBezTo>
                  <a:pt x="3730752" y="3624088"/>
                  <a:pt x="3595621" y="4125943"/>
                  <a:pt x="3357725" y="4563870"/>
                </a:cubicBezTo>
                <a:lnTo>
                  <a:pt x="3253285" y="4735782"/>
                </a:lnTo>
                <a:lnTo>
                  <a:pt x="0" y="4735782"/>
                </a:lnTo>
                <a:lnTo>
                  <a:pt x="0" y="67215"/>
                </a:lnTo>
                <a:lnTo>
                  <a:pt x="17202" y="62792"/>
                </a:lnTo>
                <a:cubicBezTo>
                  <a:pt x="218397" y="21621"/>
                  <a:pt x="426714" y="0"/>
                  <a:pt x="64008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9DBC4630-03DA-474F-BBCB-BA3AE6B317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1982" y="-4332"/>
            <a:ext cx="4242816" cy="2454158"/>
          </a:xfrm>
          <a:custGeom>
            <a:avLst/>
            <a:gdLst>
              <a:gd name="connsiteX0" fmla="*/ 28633 w 4242816"/>
              <a:gd name="connsiteY0" fmla="*/ 0 h 2454158"/>
              <a:gd name="connsiteX1" fmla="*/ 4214183 w 4242816"/>
              <a:gd name="connsiteY1" fmla="*/ 0 h 2454158"/>
              <a:gd name="connsiteX2" fmla="*/ 4231864 w 4242816"/>
              <a:gd name="connsiteY2" fmla="*/ 115848 h 2454158"/>
              <a:gd name="connsiteX3" fmla="*/ 4242816 w 4242816"/>
              <a:gd name="connsiteY3" fmla="*/ 332750 h 2454158"/>
              <a:gd name="connsiteX4" fmla="*/ 2121408 w 4242816"/>
              <a:gd name="connsiteY4" fmla="*/ 2454158 h 2454158"/>
              <a:gd name="connsiteX5" fmla="*/ 0 w 4242816"/>
              <a:gd name="connsiteY5" fmla="*/ 332750 h 2454158"/>
              <a:gd name="connsiteX6" fmla="*/ 10953 w 4242816"/>
              <a:gd name="connsiteY6" fmla="*/ 115848 h 2454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2816" h="2454158">
                <a:moveTo>
                  <a:pt x="28633" y="0"/>
                </a:moveTo>
                <a:lnTo>
                  <a:pt x="4214183" y="0"/>
                </a:lnTo>
                <a:lnTo>
                  <a:pt x="4231864" y="115848"/>
                </a:lnTo>
                <a:cubicBezTo>
                  <a:pt x="4239106" y="187164"/>
                  <a:pt x="4242816" y="259524"/>
                  <a:pt x="4242816" y="332750"/>
                </a:cubicBezTo>
                <a:cubicBezTo>
                  <a:pt x="4242816" y="1504371"/>
                  <a:pt x="3293029" y="2454158"/>
                  <a:pt x="2121408" y="2454158"/>
                </a:cubicBezTo>
                <a:cubicBezTo>
                  <a:pt x="949787" y="2454158"/>
                  <a:pt x="0" y="1504371"/>
                  <a:pt x="0" y="332750"/>
                </a:cubicBezTo>
                <a:cubicBezTo>
                  <a:pt x="0" y="259524"/>
                  <a:pt x="3710" y="187164"/>
                  <a:pt x="10953" y="115848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1208BC59-C84F-483F-80CD-FAEC74229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46573" y="0"/>
            <a:ext cx="3913632" cy="2285234"/>
          </a:xfrm>
          <a:custGeom>
            <a:avLst/>
            <a:gdLst>
              <a:gd name="connsiteX0" fmla="*/ 29691 w 3913632"/>
              <a:gd name="connsiteY0" fmla="*/ 0 h 2285234"/>
              <a:gd name="connsiteX1" fmla="*/ 3883942 w 3913632"/>
              <a:gd name="connsiteY1" fmla="*/ 0 h 2285234"/>
              <a:gd name="connsiteX2" fmla="*/ 3903529 w 3913632"/>
              <a:gd name="connsiteY2" fmla="*/ 128345 h 2285234"/>
              <a:gd name="connsiteX3" fmla="*/ 3913632 w 3913632"/>
              <a:gd name="connsiteY3" fmla="*/ 328418 h 2285234"/>
              <a:gd name="connsiteX4" fmla="*/ 1956816 w 3913632"/>
              <a:gd name="connsiteY4" fmla="*/ 2285234 h 2285234"/>
              <a:gd name="connsiteX5" fmla="*/ 0 w 3913632"/>
              <a:gd name="connsiteY5" fmla="*/ 328418 h 2285234"/>
              <a:gd name="connsiteX6" fmla="*/ 10103 w 3913632"/>
              <a:gd name="connsiteY6" fmla="*/ 128345 h 2285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13632" h="2285234">
                <a:moveTo>
                  <a:pt x="29691" y="0"/>
                </a:moveTo>
                <a:lnTo>
                  <a:pt x="3883942" y="0"/>
                </a:lnTo>
                <a:lnTo>
                  <a:pt x="3903529" y="128345"/>
                </a:lnTo>
                <a:cubicBezTo>
                  <a:pt x="3910210" y="194127"/>
                  <a:pt x="3913632" y="260873"/>
                  <a:pt x="3913632" y="328418"/>
                </a:cubicBezTo>
                <a:cubicBezTo>
                  <a:pt x="3913632" y="1409138"/>
                  <a:pt x="3037536" y="2285234"/>
                  <a:pt x="1956816" y="2285234"/>
                </a:cubicBezTo>
                <a:cubicBezTo>
                  <a:pt x="876096" y="2285234"/>
                  <a:pt x="0" y="1409138"/>
                  <a:pt x="0" y="328418"/>
                </a:cubicBezTo>
                <a:cubicBezTo>
                  <a:pt x="0" y="260873"/>
                  <a:pt x="3422" y="194127"/>
                  <a:pt x="10103" y="12834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그림 25">
            <a:extLst>
              <a:ext uri="{FF2B5EF4-FFF2-40B4-BE49-F238E27FC236}">
                <a16:creationId xmlns:a16="http://schemas.microsoft.com/office/drawing/2014/main" id="{D9357C38-D286-4B9C-BB0C-7132FEEAF1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2086" y="674825"/>
            <a:ext cx="2410097" cy="577583"/>
          </a:xfrm>
          <a:prstGeom prst="rect">
            <a:avLst/>
          </a:prstGeom>
        </p:spPr>
      </p:pic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A1DABD52-05DF-4F31-AFB9-B330D8BE46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25559" y="725908"/>
            <a:ext cx="2852928" cy="2852928"/>
          </a:xfrm>
          <a:custGeom>
            <a:avLst/>
            <a:gdLst>
              <a:gd name="connsiteX0" fmla="*/ 1426464 w 2852928"/>
              <a:gd name="connsiteY0" fmla="*/ 0 h 2852928"/>
              <a:gd name="connsiteX1" fmla="*/ 2852928 w 2852928"/>
              <a:gd name="connsiteY1" fmla="*/ 1426464 h 2852928"/>
              <a:gd name="connsiteX2" fmla="*/ 1426464 w 2852928"/>
              <a:gd name="connsiteY2" fmla="*/ 2852928 h 2852928"/>
              <a:gd name="connsiteX3" fmla="*/ 0 w 2852928"/>
              <a:gd name="connsiteY3" fmla="*/ 1426464 h 2852928"/>
              <a:gd name="connsiteX4" fmla="*/ 1426464 w 2852928"/>
              <a:gd name="connsiteY4" fmla="*/ 0 h 2852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2928" h="2852928">
                <a:moveTo>
                  <a:pt x="1426464" y="0"/>
                </a:moveTo>
                <a:cubicBezTo>
                  <a:pt x="2214278" y="0"/>
                  <a:pt x="2852928" y="638650"/>
                  <a:pt x="2852928" y="1426464"/>
                </a:cubicBezTo>
                <a:cubicBezTo>
                  <a:pt x="2852928" y="2214278"/>
                  <a:pt x="2214278" y="2852928"/>
                  <a:pt x="1426464" y="2852928"/>
                </a:cubicBezTo>
                <a:cubicBezTo>
                  <a:pt x="638650" y="2852928"/>
                  <a:pt x="0" y="2214278"/>
                  <a:pt x="0" y="1426464"/>
                </a:cubicBezTo>
                <a:cubicBezTo>
                  <a:pt x="0" y="638650"/>
                  <a:pt x="638650" y="0"/>
                  <a:pt x="142646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8418A25-6EAC-4140-BFE6-284E1925B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60967" y="561316"/>
            <a:ext cx="3182112" cy="3182112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98" name="Picture 2" descr="파이썬2 마지막 버전 공개…3.0 전환 필요 - 지디넷코리아">
            <a:extLst>
              <a:ext uri="{FF2B5EF4-FFF2-40B4-BE49-F238E27FC236}">
                <a16:creationId xmlns:a16="http://schemas.microsoft.com/office/drawing/2014/main" id="{CF44E962-62F4-4DBF-93FE-3A7577956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44601" y="1770709"/>
            <a:ext cx="2508611" cy="84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FEAA9108-8DC8-4261-A26D-10F2BE9900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43" y="3536098"/>
            <a:ext cx="2329136" cy="2709860"/>
          </a:xfrm>
          <a:prstGeom prst="rect">
            <a:avLst/>
          </a:prstGeom>
        </p:spPr>
      </p:pic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6B9D64DB-4D5C-4A91-B45F-F301E3174F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52568" y="-4332"/>
            <a:ext cx="3439432" cy="3550083"/>
          </a:xfrm>
          <a:custGeom>
            <a:avLst/>
            <a:gdLst>
              <a:gd name="connsiteX0" fmla="*/ 115336 w 3439432"/>
              <a:gd name="connsiteY0" fmla="*/ 0 h 3550083"/>
              <a:gd name="connsiteX1" fmla="*/ 3439432 w 3439432"/>
              <a:gd name="connsiteY1" fmla="*/ 0 h 3550083"/>
              <a:gd name="connsiteX2" fmla="*/ 3439432 w 3439432"/>
              <a:gd name="connsiteY2" fmla="*/ 3462762 h 3550083"/>
              <a:gd name="connsiteX3" fmla="*/ 3318024 w 3439432"/>
              <a:gd name="connsiteY3" fmla="*/ 3493980 h 3550083"/>
              <a:gd name="connsiteX4" fmla="*/ 2761488 w 3439432"/>
              <a:gd name="connsiteY4" fmla="*/ 3550083 h 3550083"/>
              <a:gd name="connsiteX5" fmla="*/ 0 w 3439432"/>
              <a:gd name="connsiteY5" fmla="*/ 788595 h 3550083"/>
              <a:gd name="connsiteX6" fmla="*/ 70713 w 3439432"/>
              <a:gd name="connsiteY6" fmla="*/ 164949 h 3550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39432" h="3550083">
                <a:moveTo>
                  <a:pt x="115336" y="0"/>
                </a:moveTo>
                <a:lnTo>
                  <a:pt x="3439432" y="0"/>
                </a:lnTo>
                <a:lnTo>
                  <a:pt x="3439432" y="3462762"/>
                </a:lnTo>
                <a:lnTo>
                  <a:pt x="3318024" y="3493980"/>
                </a:lnTo>
                <a:cubicBezTo>
                  <a:pt x="3138258" y="3530765"/>
                  <a:pt x="2952129" y="3550083"/>
                  <a:pt x="2761488" y="3550083"/>
                </a:cubicBezTo>
                <a:cubicBezTo>
                  <a:pt x="1236360" y="3550083"/>
                  <a:pt x="0" y="2313723"/>
                  <a:pt x="0" y="788595"/>
                </a:cubicBezTo>
                <a:cubicBezTo>
                  <a:pt x="0" y="574124"/>
                  <a:pt x="24450" y="365364"/>
                  <a:pt x="70713" y="164949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8E4F04B5-4D4A-4F70-8549-384AF5351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18761" y="-4330"/>
            <a:ext cx="3273238" cy="3383891"/>
          </a:xfrm>
          <a:custGeom>
            <a:avLst/>
            <a:gdLst>
              <a:gd name="connsiteX0" fmla="*/ 122841 w 3273238"/>
              <a:gd name="connsiteY0" fmla="*/ 0 h 3383891"/>
              <a:gd name="connsiteX1" fmla="*/ 3273238 w 3273238"/>
              <a:gd name="connsiteY1" fmla="*/ 0 h 3383891"/>
              <a:gd name="connsiteX2" fmla="*/ 3273238 w 3273238"/>
              <a:gd name="connsiteY2" fmla="*/ 3291335 h 3383891"/>
              <a:gd name="connsiteX3" fmla="*/ 3118338 w 3273238"/>
              <a:gd name="connsiteY3" fmla="*/ 3331164 h 3383891"/>
              <a:gd name="connsiteX4" fmla="*/ 2595295 w 3273238"/>
              <a:gd name="connsiteY4" fmla="*/ 3383891 h 3383891"/>
              <a:gd name="connsiteX5" fmla="*/ 0 w 3273238"/>
              <a:gd name="connsiteY5" fmla="*/ 788596 h 3383891"/>
              <a:gd name="connsiteX6" fmla="*/ 116679 w 3273238"/>
              <a:gd name="connsiteY6" fmla="*/ 16835 h 338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73238" h="3383891">
                <a:moveTo>
                  <a:pt x="122841" y="0"/>
                </a:moveTo>
                <a:lnTo>
                  <a:pt x="3273238" y="0"/>
                </a:lnTo>
                <a:lnTo>
                  <a:pt x="3273238" y="3291335"/>
                </a:lnTo>
                <a:lnTo>
                  <a:pt x="3118338" y="3331164"/>
                </a:lnTo>
                <a:cubicBezTo>
                  <a:pt x="2949390" y="3365736"/>
                  <a:pt x="2774463" y="3383891"/>
                  <a:pt x="2595295" y="3383891"/>
                </a:cubicBezTo>
                <a:cubicBezTo>
                  <a:pt x="1161953" y="3383891"/>
                  <a:pt x="0" y="2221938"/>
                  <a:pt x="0" y="788596"/>
                </a:cubicBezTo>
                <a:cubicBezTo>
                  <a:pt x="0" y="519845"/>
                  <a:pt x="40850" y="260634"/>
                  <a:pt x="116679" y="1683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CB6D357B-8E46-4EAA-9240-4DB28A2DB1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1000" y="725908"/>
            <a:ext cx="2364850" cy="1324315"/>
          </a:xfrm>
          <a:prstGeom prst="rect">
            <a:avLst/>
          </a:prstGeom>
        </p:spPr>
      </p:pic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0D14DB62-3EB3-452E-89EE-30B0CDB0C8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63236" y="4071322"/>
            <a:ext cx="2828765" cy="2786678"/>
          </a:xfrm>
          <a:custGeom>
            <a:avLst/>
            <a:gdLst>
              <a:gd name="connsiteX0" fmla="*/ 1888236 w 2828765"/>
              <a:gd name="connsiteY0" fmla="*/ 0 h 2786678"/>
              <a:gd name="connsiteX1" fmla="*/ 2788281 w 2828765"/>
              <a:gd name="connsiteY1" fmla="*/ 227900 h 2786678"/>
              <a:gd name="connsiteX2" fmla="*/ 2828765 w 2828765"/>
              <a:gd name="connsiteY2" fmla="*/ 252495 h 2786678"/>
              <a:gd name="connsiteX3" fmla="*/ 2828765 w 2828765"/>
              <a:gd name="connsiteY3" fmla="*/ 2786678 h 2786678"/>
              <a:gd name="connsiteX4" fmla="*/ 227128 w 2828765"/>
              <a:gd name="connsiteY4" fmla="*/ 2786678 h 2786678"/>
              <a:gd name="connsiteX5" fmla="*/ 148387 w 2828765"/>
              <a:gd name="connsiteY5" fmla="*/ 2623223 h 2786678"/>
              <a:gd name="connsiteX6" fmla="*/ 0 w 2828765"/>
              <a:gd name="connsiteY6" fmla="*/ 1888236 h 2786678"/>
              <a:gd name="connsiteX7" fmla="*/ 1888236 w 2828765"/>
              <a:gd name="connsiteY7" fmla="*/ 0 h 2786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8765" h="2786678">
                <a:moveTo>
                  <a:pt x="1888236" y="0"/>
                </a:moveTo>
                <a:cubicBezTo>
                  <a:pt x="2214125" y="0"/>
                  <a:pt x="2520731" y="82558"/>
                  <a:pt x="2788281" y="227900"/>
                </a:cubicBezTo>
                <a:lnTo>
                  <a:pt x="2828765" y="252495"/>
                </a:lnTo>
                <a:lnTo>
                  <a:pt x="2828765" y="2786678"/>
                </a:lnTo>
                <a:lnTo>
                  <a:pt x="227128" y="2786678"/>
                </a:lnTo>
                <a:lnTo>
                  <a:pt x="148387" y="2623223"/>
                </a:lnTo>
                <a:cubicBezTo>
                  <a:pt x="52837" y="2397318"/>
                  <a:pt x="0" y="2148947"/>
                  <a:pt x="0" y="1888236"/>
                </a:cubicBezTo>
                <a:cubicBezTo>
                  <a:pt x="0" y="845392"/>
                  <a:pt x="845392" y="0"/>
                  <a:pt x="188823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CB14CE1B-4BC5-4EF2-BE3D-05E4F580B3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99331" y="3907418"/>
            <a:ext cx="2992669" cy="2950582"/>
          </a:xfrm>
          <a:custGeom>
            <a:avLst/>
            <a:gdLst>
              <a:gd name="connsiteX0" fmla="*/ 2052140 w 2992669"/>
              <a:gd name="connsiteY0" fmla="*/ 0 h 2950582"/>
              <a:gd name="connsiteX1" fmla="*/ 2850926 w 2992669"/>
              <a:gd name="connsiteY1" fmla="*/ 161267 h 2950582"/>
              <a:gd name="connsiteX2" fmla="*/ 2992669 w 2992669"/>
              <a:gd name="connsiteY2" fmla="*/ 229549 h 2950582"/>
              <a:gd name="connsiteX3" fmla="*/ 2992669 w 2992669"/>
              <a:gd name="connsiteY3" fmla="*/ 2950582 h 2950582"/>
              <a:gd name="connsiteX4" fmla="*/ 209274 w 2992669"/>
              <a:gd name="connsiteY4" fmla="*/ 2950582 h 2950582"/>
              <a:gd name="connsiteX5" fmla="*/ 161267 w 2992669"/>
              <a:gd name="connsiteY5" fmla="*/ 2850926 h 2950582"/>
              <a:gd name="connsiteX6" fmla="*/ 0 w 2992669"/>
              <a:gd name="connsiteY6" fmla="*/ 2052140 h 2950582"/>
              <a:gd name="connsiteX7" fmla="*/ 2052140 w 2992669"/>
              <a:gd name="connsiteY7" fmla="*/ 0 h 2950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92669" h="2950582">
                <a:moveTo>
                  <a:pt x="2052140" y="0"/>
                </a:moveTo>
                <a:cubicBezTo>
                  <a:pt x="2335482" y="0"/>
                  <a:pt x="2605411" y="57424"/>
                  <a:pt x="2850926" y="161267"/>
                </a:cubicBezTo>
                <a:lnTo>
                  <a:pt x="2992669" y="229549"/>
                </a:lnTo>
                <a:lnTo>
                  <a:pt x="2992669" y="2950582"/>
                </a:lnTo>
                <a:lnTo>
                  <a:pt x="209274" y="2950582"/>
                </a:lnTo>
                <a:lnTo>
                  <a:pt x="161267" y="2850926"/>
                </a:lnTo>
                <a:cubicBezTo>
                  <a:pt x="57423" y="2605411"/>
                  <a:pt x="0" y="2335482"/>
                  <a:pt x="0" y="2052140"/>
                </a:cubicBezTo>
                <a:cubicBezTo>
                  <a:pt x="0" y="918774"/>
                  <a:pt x="918774" y="0"/>
                  <a:pt x="205214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User guide and tutorial — seaborn 0.11.2 documentation">
            <a:extLst>
              <a:ext uri="{FF2B5EF4-FFF2-40B4-BE49-F238E27FC236}">
                <a16:creationId xmlns:a16="http://schemas.microsoft.com/office/drawing/2014/main" id="{0A008A7A-2CF0-4CB9-94B5-249CD5A2A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55728" y="5347278"/>
            <a:ext cx="2368631" cy="67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9288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OehcVa67D9VEeSGNFK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MoGCsp4vdmpMr7kbpf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bCfJfG4jtH5I3UMhul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사용자 지정 1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17FA4"/>
      </a:accent1>
      <a:accent2>
        <a:srgbClr val="01B7C5"/>
      </a:accent2>
      <a:accent3>
        <a:srgbClr val="023756"/>
      </a:accent3>
      <a:accent4>
        <a:srgbClr val="E6CCBC"/>
      </a:accent4>
      <a:accent5>
        <a:srgbClr val="CCA381"/>
      </a:accent5>
      <a:accent6>
        <a:srgbClr val="101F26"/>
      </a:accent6>
      <a:hlink>
        <a:srgbClr val="262626"/>
      </a:hlink>
      <a:folHlink>
        <a:srgbClr val="262626"/>
      </a:folHlink>
    </a:clrScheme>
    <a:fontScheme name="Arial">
      <a:majorFont>
        <a:latin typeface="Arial"/>
        <a:ea typeface="나눔스퀘어 ExtraBold"/>
        <a:cs typeface=""/>
      </a:majorFont>
      <a:minorFont>
        <a:latin typeface="Arial"/>
        <a:ea typeface="나눔스퀘어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2</TotalTime>
  <Words>2212</Words>
  <Application>Microsoft Office PowerPoint</Application>
  <PresentationFormat>와이드스크린</PresentationFormat>
  <Paragraphs>397</Paragraphs>
  <Slides>24</Slides>
  <Notes>24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4</vt:i4>
      </vt:variant>
    </vt:vector>
  </HeadingPairs>
  <TitlesOfParts>
    <vt:vector size="34" baseType="lpstr">
      <vt:lpstr>나눔스퀘어 ExtraBold</vt:lpstr>
      <vt:lpstr>나눔스퀘어 Light</vt:lpstr>
      <vt:lpstr>돋움</vt:lpstr>
      <vt:lpstr>맑은 고딕</vt:lpstr>
      <vt:lpstr>Arial</vt:lpstr>
      <vt:lpstr>Calibri</vt:lpstr>
      <vt:lpstr>Segoe UI</vt:lpstr>
      <vt:lpstr>Wingdings</vt:lpstr>
      <vt:lpstr>Office 테마</vt:lpstr>
      <vt:lpstr>think-cell Slide</vt:lpstr>
      <vt:lpstr>반려동물 등록제도와 유기동물 수      증감의 상관성 분석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‘선택’ 아닌 “필수”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현미연</dc:creator>
  <cp:lastModifiedBy>현미연</cp:lastModifiedBy>
  <cp:revision>481</cp:revision>
  <dcterms:created xsi:type="dcterms:W3CDTF">2021-12-03T06:23:58Z</dcterms:created>
  <dcterms:modified xsi:type="dcterms:W3CDTF">2021-12-13T05:01:09Z</dcterms:modified>
</cp:coreProperties>
</file>